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8" r:id="rId1"/>
    <p:sldMasterId id="2147483771" r:id="rId2"/>
    <p:sldMasterId id="2147483783" r:id="rId3"/>
    <p:sldMasterId id="2147483796" r:id="rId4"/>
    <p:sldMasterId id="2147483808" r:id="rId5"/>
    <p:sldMasterId id="2147483821" r:id="rId6"/>
    <p:sldMasterId id="2147483833" r:id="rId7"/>
  </p:sldMasterIdLst>
  <p:notesMasterIdLst>
    <p:notesMasterId r:id="rId14"/>
  </p:notesMasterIdLst>
  <p:handoutMasterIdLst>
    <p:handoutMasterId r:id="rId15"/>
  </p:handoutMasterIdLst>
  <p:sldIdLst>
    <p:sldId id="974" r:id="rId8"/>
    <p:sldId id="981" r:id="rId9"/>
    <p:sldId id="985" r:id="rId10"/>
    <p:sldId id="986" r:id="rId11"/>
    <p:sldId id="988" r:id="rId12"/>
    <p:sldId id="989" r:id="rId13"/>
  </p:sldIdLst>
  <p:sldSz cx="9144000" cy="5143500" type="screen16x9"/>
  <p:notesSz cx="6797675" cy="9926638"/>
  <p:defaultTextStyle>
    <a:defPPr>
      <a:defRPr lang="ru-RU"/>
    </a:defPPr>
    <a:lvl1pPr marL="0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66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32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598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464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331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195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060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926" algn="l" defTabSz="68573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2909E7"/>
    <a:srgbClr val="006600"/>
    <a:srgbClr val="F7F7F7"/>
    <a:srgbClr val="009242"/>
    <a:srgbClr val="0F55E1"/>
    <a:srgbClr val="2910E0"/>
    <a:srgbClr val="009ED6"/>
    <a:srgbClr val="DEEBF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89049" autoAdjust="0"/>
  </p:normalViewPr>
  <p:slideViewPr>
    <p:cSldViewPr snapToGrid="0" showGuides="1">
      <p:cViewPr varScale="1">
        <p:scale>
          <a:sx n="156" d="100"/>
          <a:sy n="156" d="100"/>
        </p:scale>
        <p:origin x="-330" y="-90"/>
      </p:cViewPr>
      <p:guideLst>
        <p:guide orient="horz" pos="2160"/>
        <p:guide orient="horz" pos="1620"/>
        <p:guide pos="3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030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3" y="10"/>
            <a:ext cx="2946348" cy="496174"/>
          </a:xfrm>
          <a:prstGeom prst="rect">
            <a:avLst/>
          </a:prstGeom>
        </p:spPr>
        <p:txBody>
          <a:bodyPr vert="horz" lIns="91138" tIns="45568" rIns="91138" bIns="4556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752" y="10"/>
            <a:ext cx="2946346" cy="496174"/>
          </a:xfrm>
          <a:prstGeom prst="rect">
            <a:avLst/>
          </a:prstGeom>
        </p:spPr>
        <p:txBody>
          <a:bodyPr vert="horz" lIns="91138" tIns="45568" rIns="91138" bIns="45568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19.05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3" y="9428893"/>
            <a:ext cx="2946348" cy="496174"/>
          </a:xfrm>
          <a:prstGeom prst="rect">
            <a:avLst/>
          </a:prstGeom>
        </p:spPr>
        <p:txBody>
          <a:bodyPr vert="horz" lIns="91138" tIns="45568" rIns="91138" bIns="4556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752" y="9428893"/>
            <a:ext cx="2946346" cy="496174"/>
          </a:xfrm>
          <a:prstGeom prst="rect">
            <a:avLst/>
          </a:prstGeom>
        </p:spPr>
        <p:txBody>
          <a:bodyPr vert="horz" lIns="91138" tIns="45568" rIns="91138" bIns="45568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2" y="10"/>
            <a:ext cx="2946348" cy="496174"/>
          </a:xfrm>
          <a:prstGeom prst="rect">
            <a:avLst/>
          </a:prstGeom>
        </p:spPr>
        <p:txBody>
          <a:bodyPr vert="horz" lIns="91138" tIns="45568" rIns="91138" bIns="4556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752" y="10"/>
            <a:ext cx="2946346" cy="496174"/>
          </a:xfrm>
          <a:prstGeom prst="rect">
            <a:avLst/>
          </a:prstGeom>
        </p:spPr>
        <p:txBody>
          <a:bodyPr vert="horz" lIns="91138" tIns="45568" rIns="91138" bIns="45568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19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725" y="744538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38" tIns="45568" rIns="91138" bIns="4556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36" y="4714448"/>
            <a:ext cx="5437821" cy="4467147"/>
          </a:xfrm>
          <a:prstGeom prst="rect">
            <a:avLst/>
          </a:prstGeom>
        </p:spPr>
        <p:txBody>
          <a:bodyPr vert="horz" lIns="91138" tIns="45568" rIns="91138" bIns="4556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2" y="9428893"/>
            <a:ext cx="2946348" cy="496174"/>
          </a:xfrm>
          <a:prstGeom prst="rect">
            <a:avLst/>
          </a:prstGeom>
        </p:spPr>
        <p:txBody>
          <a:bodyPr vert="horz" lIns="91138" tIns="45568" rIns="91138" bIns="4556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752" y="9428893"/>
            <a:ext cx="2946346" cy="496174"/>
          </a:xfrm>
          <a:prstGeom prst="rect">
            <a:avLst/>
          </a:prstGeom>
        </p:spPr>
        <p:txBody>
          <a:bodyPr vert="horz" lIns="91138" tIns="45568" rIns="91138" bIns="45568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66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32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598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464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331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195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060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926" algn="l" defTabSz="68573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gi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gi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microsoft.com/office/2007/relationships/hdphoto" Target="../media/hdphoto2.wdp"/><Relationship Id="rId7" Type="http://schemas.openxmlformats.org/officeDocument/2006/relationships/image" Target="../media/image6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gif"/><Relationship Id="rId5" Type="http://schemas.microsoft.com/office/2007/relationships/hdphoto" Target="../media/hdphoto3.wdp"/><Relationship Id="rId4" Type="http://schemas.openxmlformats.org/officeDocument/2006/relationships/image" Target="../media/image9.png"/><Relationship Id="rId9" Type="http://schemas.microsoft.com/office/2007/relationships/hdphoto" Target="../media/hdphoto4.wdp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9144000" cy="5155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2" y="2046952"/>
            <a:ext cx="5036084" cy="361830"/>
          </a:xfrm>
          <a:prstGeom prst="rect">
            <a:avLst/>
          </a:prstGeom>
        </p:spPr>
        <p:txBody>
          <a:bodyPr lIns="68549" tIns="34277" rIns="68549" bIns="34277" anchor="t"/>
          <a:lstStyle>
            <a:lvl1pPr>
              <a:defRPr sz="2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92" y="3917904"/>
            <a:ext cx="1788304" cy="346249"/>
          </a:xfrm>
        </p:spPr>
        <p:txBody>
          <a:bodyPr>
            <a:spAutoFit/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284266"/>
            <a:ext cx="277768" cy="2144138"/>
          </a:xfrm>
          <a:prstGeom prst="rect">
            <a:avLst/>
          </a:prstGeom>
        </p:spPr>
        <p:txBody>
          <a:bodyPr vert="eaVert"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99" y="284266"/>
            <a:ext cx="4989109" cy="21441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31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5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383794"/>
            <a:ext cx="6916719" cy="20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40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2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7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40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75" indent="0">
              <a:buNone/>
              <a:defRPr sz="1500" b="1"/>
            </a:lvl2pPr>
            <a:lvl3pPr marL="685749" indent="0">
              <a:buNone/>
              <a:defRPr sz="1400" b="1"/>
            </a:lvl3pPr>
            <a:lvl4pPr marL="1028624" indent="0">
              <a:buNone/>
              <a:defRPr sz="1200" b="1"/>
            </a:lvl4pPr>
            <a:lvl5pPr marL="1371498" indent="0">
              <a:buNone/>
              <a:defRPr sz="1200" b="1"/>
            </a:lvl5pPr>
            <a:lvl6pPr marL="1714373" indent="0">
              <a:buNone/>
              <a:defRPr sz="1200" b="1"/>
            </a:lvl6pPr>
            <a:lvl7pPr marL="2057246" indent="0">
              <a:buNone/>
              <a:defRPr sz="1200" b="1"/>
            </a:lvl7pPr>
            <a:lvl8pPr marL="2400120" indent="0">
              <a:buNone/>
              <a:defRPr sz="1200" b="1"/>
            </a:lvl8pPr>
            <a:lvl9pPr marL="2742995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2" r="93651" b="803"/>
          <a:stretch/>
        </p:blipFill>
        <p:spPr bwMode="auto">
          <a:xfrm>
            <a:off x="265468" y="3"/>
            <a:ext cx="374336" cy="51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504944" y="80526"/>
            <a:ext cx="4822733" cy="848303"/>
            <a:chOff x="-142531" y="43960"/>
            <a:chExt cx="6430308" cy="1131071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-142531" y="43960"/>
              <a:ext cx="1508094" cy="1131071"/>
              <a:chOff x="-142531" y="43960"/>
              <a:chExt cx="1531129" cy="1148347"/>
            </a:xfrm>
          </p:grpSpPr>
          <p:sp>
            <p:nvSpPr>
              <p:cNvPr id="10" name="Овал 9"/>
              <p:cNvSpPr/>
              <p:nvPr/>
            </p:nvSpPr>
            <p:spPr>
              <a:xfrm>
                <a:off x="158261" y="158877"/>
                <a:ext cx="914399" cy="914399"/>
              </a:xfrm>
              <a:prstGeom prst="ellipse">
                <a:avLst/>
              </a:prstGeom>
              <a:solidFill>
                <a:srgbClr val="FFF8E5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pic>
            <p:nvPicPr>
              <p:cNvPr id="11" name="Рисунок 1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42531" y="43960"/>
                <a:ext cx="1531129" cy="1148347"/>
              </a:xfrm>
              <a:prstGeom prst="rect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1101402" y="182920"/>
              <a:ext cx="5186375" cy="704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Министерство сельского хозяйства</a:t>
              </a:r>
            </a:p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и продовольствия Республики Татарстан</a:t>
              </a:r>
              <a:endParaRPr lang="ru-RU" sz="1400" b="1" dirty="0">
                <a:solidFill>
                  <a:srgbClr val="68AC0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2" descr="C:\Users\user\Desktop\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55" t="20168" r="51554" b="64920"/>
          <a:stretch/>
        </p:blipFill>
        <p:spPr bwMode="auto">
          <a:xfrm>
            <a:off x="7810501" y="99060"/>
            <a:ext cx="1174040" cy="41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user\Desktop\подл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7" y="3"/>
            <a:ext cx="9164639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75" indent="0">
              <a:buNone/>
              <a:defRPr sz="1100"/>
            </a:lvl2pPr>
            <a:lvl3pPr marL="685749" indent="0">
              <a:buNone/>
              <a:defRPr sz="900"/>
            </a:lvl3pPr>
            <a:lvl4pPr marL="1028624" indent="0">
              <a:buNone/>
              <a:defRPr sz="800"/>
            </a:lvl4pPr>
            <a:lvl5pPr marL="1371498" indent="0">
              <a:buNone/>
              <a:defRPr sz="800"/>
            </a:lvl5pPr>
            <a:lvl6pPr marL="1714373" indent="0">
              <a:buNone/>
              <a:defRPr sz="800"/>
            </a:lvl6pPr>
            <a:lvl7pPr marL="2057246" indent="0">
              <a:buNone/>
              <a:defRPr sz="800"/>
            </a:lvl7pPr>
            <a:lvl8pPr marL="2400120" indent="0">
              <a:buNone/>
              <a:defRPr sz="800"/>
            </a:lvl8pPr>
            <a:lvl9pPr marL="2742995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75" indent="0">
              <a:buNone/>
              <a:defRPr sz="2100"/>
            </a:lvl2pPr>
            <a:lvl3pPr marL="685749" indent="0">
              <a:buNone/>
              <a:defRPr sz="1800"/>
            </a:lvl3pPr>
            <a:lvl4pPr marL="1028624" indent="0">
              <a:buNone/>
              <a:defRPr sz="1500"/>
            </a:lvl4pPr>
            <a:lvl5pPr marL="1371498" indent="0">
              <a:buNone/>
              <a:defRPr sz="1500"/>
            </a:lvl5pPr>
            <a:lvl6pPr marL="1714373" indent="0">
              <a:buNone/>
              <a:defRPr sz="1500"/>
            </a:lvl6pPr>
            <a:lvl7pPr marL="2057246" indent="0">
              <a:buNone/>
              <a:defRPr sz="1500"/>
            </a:lvl7pPr>
            <a:lvl8pPr marL="2400120" indent="0">
              <a:buNone/>
              <a:defRPr sz="1500"/>
            </a:lvl8pPr>
            <a:lvl9pPr marL="2742995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75" indent="0">
              <a:buNone/>
              <a:defRPr sz="1100"/>
            </a:lvl2pPr>
            <a:lvl3pPr marL="685749" indent="0">
              <a:buNone/>
              <a:defRPr sz="900"/>
            </a:lvl3pPr>
            <a:lvl4pPr marL="1028624" indent="0">
              <a:buNone/>
              <a:defRPr sz="800"/>
            </a:lvl4pPr>
            <a:lvl5pPr marL="1371498" indent="0">
              <a:buNone/>
              <a:defRPr sz="800"/>
            </a:lvl5pPr>
            <a:lvl6pPr marL="1714373" indent="0">
              <a:buNone/>
              <a:defRPr sz="800"/>
            </a:lvl6pPr>
            <a:lvl7pPr marL="2057246" indent="0">
              <a:buNone/>
              <a:defRPr sz="800"/>
            </a:lvl7pPr>
            <a:lvl8pPr marL="2400120" indent="0">
              <a:buNone/>
              <a:defRPr sz="800"/>
            </a:lvl8pPr>
            <a:lvl9pPr marL="2742995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273843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9144000" cy="5155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2" y="2046952"/>
            <a:ext cx="5036084" cy="361830"/>
          </a:xfrm>
          <a:prstGeom prst="rect">
            <a:avLst/>
          </a:prstGeom>
        </p:spPr>
        <p:txBody>
          <a:bodyPr lIns="68547" tIns="34277" rIns="68547" bIns="34277" anchor="t"/>
          <a:lstStyle>
            <a:lvl1pPr>
              <a:defRPr sz="2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заголовка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92" y="3917900"/>
            <a:ext cx="1788304" cy="173124"/>
          </a:xfrm>
        </p:spPr>
        <p:txBody>
          <a:bodyPr>
            <a:spAutoFit/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7" tIns="34277" rIns="68547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24" y="3305638"/>
            <a:ext cx="7771995" cy="449546"/>
          </a:xfrm>
          <a:prstGeom prst="rect">
            <a:avLst/>
          </a:prstGeom>
        </p:spPr>
        <p:txBody>
          <a:bodyPr lIns="68547" tIns="34277" rIns="68547" bIns="34277" anchor="t"/>
          <a:lstStyle>
            <a:lvl1pPr algn="l">
              <a:defRPr sz="3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24" y="2180582"/>
            <a:ext cx="7771995" cy="1124913"/>
          </a:xfrm>
        </p:spPr>
        <p:txBody>
          <a:bodyPr anchor="b"/>
          <a:lstStyle>
            <a:lvl1pPr marL="0" indent="0">
              <a:buNone/>
              <a:defRPr sz="1500"/>
            </a:lvl1pPr>
            <a:lvl2pPr marL="344066" indent="0">
              <a:buNone/>
              <a:defRPr sz="1400"/>
            </a:lvl2pPr>
            <a:lvl3pPr marL="688197" indent="0">
              <a:buNone/>
              <a:defRPr sz="1200"/>
            </a:lvl3pPr>
            <a:lvl4pPr marL="1032305" indent="0">
              <a:buNone/>
              <a:defRPr sz="1100"/>
            </a:lvl4pPr>
            <a:lvl5pPr marL="1376405" indent="0">
              <a:buNone/>
              <a:defRPr sz="1100"/>
            </a:lvl5pPr>
            <a:lvl6pPr marL="1720509" indent="0">
              <a:buNone/>
              <a:defRPr sz="1100"/>
            </a:lvl6pPr>
            <a:lvl7pPr marL="2064614" indent="0">
              <a:buNone/>
              <a:defRPr sz="1100"/>
            </a:lvl7pPr>
            <a:lvl8pPr marL="2408714" indent="0">
              <a:buNone/>
              <a:defRPr sz="1100"/>
            </a:lvl8pPr>
            <a:lvl9pPr marL="2752814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7" tIns="34277" rIns="68547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202" y="1493000"/>
            <a:ext cx="2117131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7" y="1493000"/>
            <a:ext cx="2117132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0402"/>
            <a:ext cx="8230410" cy="212558"/>
          </a:xfrm>
          <a:prstGeom prst="rect">
            <a:avLst/>
          </a:prstGeom>
        </p:spPr>
        <p:txBody>
          <a:bodyPr lIns="68547" tIns="34277" rIns="68547" bIns="34277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8" y="1151656"/>
            <a:ext cx="403988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66" indent="0">
              <a:buNone/>
              <a:defRPr sz="1500" b="1"/>
            </a:lvl2pPr>
            <a:lvl3pPr marL="688197" indent="0">
              <a:buNone/>
              <a:defRPr sz="1400" b="1"/>
            </a:lvl3pPr>
            <a:lvl4pPr marL="1032305" indent="0">
              <a:buNone/>
              <a:defRPr sz="1200" b="1"/>
            </a:lvl4pPr>
            <a:lvl5pPr marL="1376405" indent="0">
              <a:buNone/>
              <a:defRPr sz="1200" b="1"/>
            </a:lvl5pPr>
            <a:lvl6pPr marL="1720509" indent="0">
              <a:buNone/>
              <a:defRPr sz="1200" b="1"/>
            </a:lvl6pPr>
            <a:lvl7pPr marL="2064614" indent="0">
              <a:buNone/>
              <a:defRPr sz="1200" b="1"/>
            </a:lvl7pPr>
            <a:lvl8pPr marL="2408714" indent="0">
              <a:buNone/>
              <a:defRPr sz="1200" b="1"/>
            </a:lvl8pPr>
            <a:lvl9pPr marL="275281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8" y="1631489"/>
            <a:ext cx="403988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4" y="1151656"/>
            <a:ext cx="404150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66" indent="0">
              <a:buNone/>
              <a:defRPr sz="1500" b="1"/>
            </a:lvl2pPr>
            <a:lvl3pPr marL="688197" indent="0">
              <a:buNone/>
              <a:defRPr sz="1400" b="1"/>
            </a:lvl3pPr>
            <a:lvl4pPr marL="1032305" indent="0">
              <a:buNone/>
              <a:defRPr sz="1200" b="1"/>
            </a:lvl4pPr>
            <a:lvl5pPr marL="1376405" indent="0">
              <a:buNone/>
              <a:defRPr sz="1200" b="1"/>
            </a:lvl5pPr>
            <a:lvl6pPr marL="1720509" indent="0">
              <a:buNone/>
              <a:defRPr sz="1200" b="1"/>
            </a:lvl6pPr>
            <a:lvl7pPr marL="2064614" indent="0">
              <a:buNone/>
              <a:defRPr sz="1200" b="1"/>
            </a:lvl7pPr>
            <a:lvl8pPr marL="2408714" indent="0">
              <a:buNone/>
              <a:defRPr sz="1200" b="1"/>
            </a:lvl8pPr>
            <a:lvl9pPr marL="275281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4" y="1631489"/>
            <a:ext cx="404150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7" tIns="34277" rIns="68547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24" y="3305638"/>
            <a:ext cx="7771995" cy="449546"/>
          </a:xfrm>
          <a:prstGeom prst="rect">
            <a:avLst/>
          </a:prstGeom>
        </p:spPr>
        <p:txBody>
          <a:bodyPr lIns="68549" tIns="34277" rIns="68549" bIns="34277" anchor="t"/>
          <a:lstStyle>
            <a:lvl1pPr algn="l">
              <a:defRPr sz="3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24" y="2180582"/>
            <a:ext cx="7771995" cy="1124913"/>
          </a:xfrm>
        </p:spPr>
        <p:txBody>
          <a:bodyPr anchor="b"/>
          <a:lstStyle>
            <a:lvl1pPr marL="0" indent="0">
              <a:buNone/>
              <a:defRPr sz="1500"/>
            </a:lvl1pPr>
            <a:lvl2pPr marL="344075" indent="0">
              <a:buNone/>
              <a:defRPr sz="1400"/>
            </a:lvl2pPr>
            <a:lvl3pPr marL="688214" indent="0">
              <a:buNone/>
              <a:defRPr sz="1200"/>
            </a:lvl3pPr>
            <a:lvl4pPr marL="1032330" indent="0">
              <a:buNone/>
              <a:defRPr sz="1100"/>
            </a:lvl4pPr>
            <a:lvl5pPr marL="1376440" indent="0">
              <a:buNone/>
              <a:defRPr sz="1100"/>
            </a:lvl5pPr>
            <a:lvl6pPr marL="1720552" indent="0">
              <a:buNone/>
              <a:defRPr sz="1100"/>
            </a:lvl6pPr>
            <a:lvl7pPr marL="2064665" indent="0">
              <a:buNone/>
              <a:defRPr sz="1100"/>
            </a:lvl7pPr>
            <a:lvl8pPr marL="2408774" indent="0">
              <a:buNone/>
              <a:defRPr sz="1100"/>
            </a:lvl8pPr>
            <a:lvl9pPr marL="2752883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2605"/>
            <a:ext cx="3008044" cy="223745"/>
          </a:xfrm>
          <a:prstGeom prst="rect">
            <a:avLst/>
          </a:prstGeom>
        </p:spPr>
        <p:txBody>
          <a:bodyPr lIns="68547" tIns="34277" rIns="68547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06" y="205310"/>
            <a:ext cx="5112217" cy="4389104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076325"/>
            <a:ext cx="3008044" cy="3518086"/>
          </a:xfrm>
        </p:spPr>
        <p:txBody>
          <a:bodyPr/>
          <a:lstStyle>
            <a:lvl1pPr marL="0" indent="0">
              <a:buNone/>
              <a:defRPr sz="1100"/>
            </a:lvl1pPr>
            <a:lvl2pPr marL="344066" indent="0">
              <a:buNone/>
              <a:defRPr sz="900"/>
            </a:lvl2pPr>
            <a:lvl3pPr marL="688197" indent="0">
              <a:buNone/>
              <a:defRPr sz="800"/>
            </a:lvl3pPr>
            <a:lvl4pPr marL="1032305" indent="0">
              <a:buNone/>
              <a:defRPr sz="700"/>
            </a:lvl4pPr>
            <a:lvl5pPr marL="1376405" indent="0">
              <a:buNone/>
              <a:defRPr sz="700"/>
            </a:lvl5pPr>
            <a:lvl6pPr marL="1720509" indent="0">
              <a:buNone/>
              <a:defRPr sz="700"/>
            </a:lvl6pPr>
            <a:lvl7pPr marL="2064614" indent="0">
              <a:buNone/>
              <a:defRPr sz="700"/>
            </a:lvl7pPr>
            <a:lvl8pPr marL="2408714" indent="0">
              <a:buNone/>
              <a:defRPr sz="700"/>
            </a:lvl8pPr>
            <a:lvl9pPr marL="275281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3802172"/>
            <a:ext cx="5486400" cy="223745"/>
          </a:xfrm>
          <a:prstGeom prst="rect">
            <a:avLst/>
          </a:prstGeom>
        </p:spPr>
        <p:txBody>
          <a:bodyPr lIns="68547" tIns="34277" rIns="68547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459200"/>
            <a:ext cx="5486400" cy="3086829"/>
          </a:xfrm>
        </p:spPr>
        <p:txBody>
          <a:bodyPr/>
          <a:lstStyle>
            <a:lvl1pPr marL="0" indent="0">
              <a:buNone/>
              <a:defRPr sz="2500"/>
            </a:lvl1pPr>
            <a:lvl2pPr marL="344066" indent="0">
              <a:buNone/>
              <a:defRPr sz="2200"/>
            </a:lvl2pPr>
            <a:lvl3pPr marL="688197" indent="0">
              <a:buNone/>
              <a:defRPr sz="1800"/>
            </a:lvl3pPr>
            <a:lvl4pPr marL="1032305" indent="0">
              <a:buNone/>
              <a:defRPr sz="1500"/>
            </a:lvl4pPr>
            <a:lvl5pPr marL="1376405" indent="0">
              <a:buNone/>
              <a:defRPr sz="1500"/>
            </a:lvl5pPr>
            <a:lvl6pPr marL="1720509" indent="0">
              <a:buNone/>
              <a:defRPr sz="1500"/>
            </a:lvl6pPr>
            <a:lvl7pPr marL="2064614" indent="0">
              <a:buNone/>
              <a:defRPr sz="1500"/>
            </a:lvl7pPr>
            <a:lvl8pPr marL="2408714" indent="0">
              <a:buNone/>
              <a:defRPr sz="1500"/>
            </a:lvl8pPr>
            <a:lvl9pPr marL="2752814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4025883"/>
            <a:ext cx="5486400" cy="603761"/>
          </a:xfrm>
        </p:spPr>
        <p:txBody>
          <a:bodyPr/>
          <a:lstStyle>
            <a:lvl1pPr marL="0" indent="0">
              <a:buNone/>
              <a:defRPr sz="1100"/>
            </a:lvl1pPr>
            <a:lvl2pPr marL="344066" indent="0">
              <a:buNone/>
              <a:defRPr sz="900"/>
            </a:lvl2pPr>
            <a:lvl3pPr marL="688197" indent="0">
              <a:buNone/>
              <a:defRPr sz="800"/>
            </a:lvl3pPr>
            <a:lvl4pPr marL="1032305" indent="0">
              <a:buNone/>
              <a:defRPr sz="700"/>
            </a:lvl4pPr>
            <a:lvl5pPr marL="1376405" indent="0">
              <a:buNone/>
              <a:defRPr sz="700"/>
            </a:lvl5pPr>
            <a:lvl6pPr marL="1720509" indent="0">
              <a:buNone/>
              <a:defRPr sz="700"/>
            </a:lvl6pPr>
            <a:lvl7pPr marL="2064614" indent="0">
              <a:buNone/>
              <a:defRPr sz="700"/>
            </a:lvl7pPr>
            <a:lvl8pPr marL="2408714" indent="0">
              <a:buNone/>
              <a:defRPr sz="700"/>
            </a:lvl8pPr>
            <a:lvl9pPr marL="2752814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7" tIns="34277" rIns="68547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284266"/>
            <a:ext cx="277768" cy="2144138"/>
          </a:xfrm>
          <a:prstGeom prst="rect">
            <a:avLst/>
          </a:prstGeom>
        </p:spPr>
        <p:txBody>
          <a:bodyPr vert="eaVert" lIns="68547" tIns="34277" rIns="68547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99" y="284266"/>
            <a:ext cx="4989109" cy="21441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32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6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383794"/>
            <a:ext cx="6916719" cy="20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6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201" y="1493000"/>
            <a:ext cx="2117131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7" y="1493000"/>
            <a:ext cx="2117132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84" indent="0">
              <a:buNone/>
              <a:defRPr sz="1500" b="1"/>
            </a:lvl2pPr>
            <a:lvl3pPr marL="685766" indent="0">
              <a:buNone/>
              <a:defRPr sz="1400" b="1"/>
            </a:lvl3pPr>
            <a:lvl4pPr marL="1028649" indent="0">
              <a:buNone/>
              <a:defRPr sz="1200" b="1"/>
            </a:lvl4pPr>
            <a:lvl5pPr marL="1371532" indent="0">
              <a:buNone/>
              <a:defRPr sz="1200" b="1"/>
            </a:lvl5pPr>
            <a:lvl6pPr marL="1714415" indent="0">
              <a:buNone/>
              <a:defRPr sz="1200" b="1"/>
            </a:lvl6pPr>
            <a:lvl7pPr marL="2057297" indent="0">
              <a:buNone/>
              <a:defRPr sz="1200" b="1"/>
            </a:lvl7pPr>
            <a:lvl8pPr marL="2400180" indent="0">
              <a:buNone/>
              <a:defRPr sz="1200" b="1"/>
            </a:lvl8pPr>
            <a:lvl9pPr marL="2743064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2" r="93651" b="803"/>
          <a:stretch/>
        </p:blipFill>
        <p:spPr bwMode="auto">
          <a:xfrm>
            <a:off x="265468" y="3"/>
            <a:ext cx="374336" cy="514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504944" y="80526"/>
            <a:ext cx="4822733" cy="848303"/>
            <a:chOff x="-142531" y="43960"/>
            <a:chExt cx="6430309" cy="1131071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-142531" y="43960"/>
              <a:ext cx="1508094" cy="1131071"/>
              <a:chOff x="-142531" y="43960"/>
              <a:chExt cx="1531129" cy="1148347"/>
            </a:xfrm>
          </p:grpSpPr>
          <p:sp>
            <p:nvSpPr>
              <p:cNvPr id="10" name="Овал 9"/>
              <p:cNvSpPr/>
              <p:nvPr/>
            </p:nvSpPr>
            <p:spPr>
              <a:xfrm>
                <a:off x="158261" y="158877"/>
                <a:ext cx="914399" cy="914399"/>
              </a:xfrm>
              <a:prstGeom prst="ellipse">
                <a:avLst/>
              </a:prstGeom>
              <a:solidFill>
                <a:srgbClr val="FFF8E5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pic>
            <p:nvPicPr>
              <p:cNvPr id="11" name="Рисунок 1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42531" y="43960"/>
                <a:ext cx="1531129" cy="1148347"/>
              </a:xfrm>
              <a:prstGeom prst="rect">
                <a:avLst/>
              </a:prstGeom>
            </p:spPr>
          </p:pic>
        </p:grpSp>
        <p:sp>
          <p:nvSpPr>
            <p:cNvPr id="8" name="TextBox 7"/>
            <p:cNvSpPr txBox="1"/>
            <p:nvPr/>
          </p:nvSpPr>
          <p:spPr>
            <a:xfrm>
              <a:off x="1101402" y="182920"/>
              <a:ext cx="5186376" cy="7044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Министерство сельского хозяйства</a:t>
              </a:r>
            </a:p>
            <a:p>
              <a:pPr>
                <a:lnSpc>
                  <a:spcPts val="1650"/>
                </a:lnSpc>
              </a:pPr>
              <a:r>
                <a:rPr lang="ru-RU" sz="14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и продовольствия Республики Татарстан</a:t>
              </a:r>
              <a:endParaRPr lang="ru-RU" sz="1400" b="1" dirty="0">
                <a:solidFill>
                  <a:srgbClr val="68AC04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3" name="Picture 2" descr="C:\Users\user\Desktop\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55" t="20168" r="51554" b="64920"/>
          <a:stretch/>
        </p:blipFill>
        <p:spPr bwMode="auto">
          <a:xfrm>
            <a:off x="7810501" y="99060"/>
            <a:ext cx="1174040" cy="41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user\Desktop\подл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637" y="3"/>
            <a:ext cx="9164639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4" indent="0">
              <a:buNone/>
              <a:defRPr sz="1100"/>
            </a:lvl2pPr>
            <a:lvl3pPr marL="685766" indent="0">
              <a:buNone/>
              <a:defRPr sz="900"/>
            </a:lvl3pPr>
            <a:lvl4pPr marL="1028649" indent="0">
              <a:buNone/>
              <a:defRPr sz="800"/>
            </a:lvl4pPr>
            <a:lvl5pPr marL="1371532" indent="0">
              <a:buNone/>
              <a:defRPr sz="800"/>
            </a:lvl5pPr>
            <a:lvl6pPr marL="1714415" indent="0">
              <a:buNone/>
              <a:defRPr sz="800"/>
            </a:lvl6pPr>
            <a:lvl7pPr marL="2057297" indent="0">
              <a:buNone/>
              <a:defRPr sz="800"/>
            </a:lvl7pPr>
            <a:lvl8pPr marL="2400180" indent="0">
              <a:buNone/>
              <a:defRPr sz="800"/>
            </a:lvl8pPr>
            <a:lvl9pPr marL="2743064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84" indent="0">
              <a:buNone/>
              <a:defRPr sz="2100"/>
            </a:lvl2pPr>
            <a:lvl3pPr marL="685766" indent="0">
              <a:buNone/>
              <a:defRPr sz="1800"/>
            </a:lvl3pPr>
            <a:lvl4pPr marL="1028649" indent="0">
              <a:buNone/>
              <a:defRPr sz="1500"/>
            </a:lvl4pPr>
            <a:lvl5pPr marL="1371532" indent="0">
              <a:buNone/>
              <a:defRPr sz="1500"/>
            </a:lvl5pPr>
            <a:lvl6pPr marL="1714415" indent="0">
              <a:buNone/>
              <a:defRPr sz="1500"/>
            </a:lvl6pPr>
            <a:lvl7pPr marL="2057297" indent="0">
              <a:buNone/>
              <a:defRPr sz="1500"/>
            </a:lvl7pPr>
            <a:lvl8pPr marL="2400180" indent="0">
              <a:buNone/>
              <a:defRPr sz="1500"/>
            </a:lvl8pPr>
            <a:lvl9pPr marL="2743064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84" indent="0">
              <a:buNone/>
              <a:defRPr sz="1100"/>
            </a:lvl2pPr>
            <a:lvl3pPr marL="685766" indent="0">
              <a:buNone/>
              <a:defRPr sz="900"/>
            </a:lvl3pPr>
            <a:lvl4pPr marL="1028649" indent="0">
              <a:buNone/>
              <a:defRPr sz="800"/>
            </a:lvl4pPr>
            <a:lvl5pPr marL="1371532" indent="0">
              <a:buNone/>
              <a:defRPr sz="800"/>
            </a:lvl5pPr>
            <a:lvl6pPr marL="1714415" indent="0">
              <a:buNone/>
              <a:defRPr sz="800"/>
            </a:lvl6pPr>
            <a:lvl7pPr marL="2057297" indent="0">
              <a:buNone/>
              <a:defRPr sz="800"/>
            </a:lvl7pPr>
            <a:lvl8pPr marL="2400180" indent="0">
              <a:buNone/>
              <a:defRPr sz="800"/>
            </a:lvl8pPr>
            <a:lvl9pPr marL="2743064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273843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9144000" cy="5155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2" y="2046952"/>
            <a:ext cx="5036084" cy="361830"/>
          </a:xfrm>
          <a:prstGeom prst="rect">
            <a:avLst/>
          </a:prstGeom>
        </p:spPr>
        <p:txBody>
          <a:bodyPr lIns="68549" tIns="34277" rIns="68549" bIns="34277" anchor="t"/>
          <a:lstStyle>
            <a:lvl1pPr>
              <a:defRPr sz="2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заголовка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92" y="3917900"/>
            <a:ext cx="1788304" cy="173124"/>
          </a:xfrm>
        </p:spPr>
        <p:txBody>
          <a:bodyPr>
            <a:spAutoFit/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24" y="3305638"/>
            <a:ext cx="7771995" cy="449546"/>
          </a:xfrm>
          <a:prstGeom prst="rect">
            <a:avLst/>
          </a:prstGeom>
        </p:spPr>
        <p:txBody>
          <a:bodyPr lIns="68549" tIns="34277" rIns="68549" bIns="34277" anchor="t"/>
          <a:lstStyle>
            <a:lvl1pPr algn="l">
              <a:defRPr sz="3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24" y="2180582"/>
            <a:ext cx="7771995" cy="1124913"/>
          </a:xfrm>
        </p:spPr>
        <p:txBody>
          <a:bodyPr anchor="b"/>
          <a:lstStyle>
            <a:lvl1pPr marL="0" indent="0">
              <a:buNone/>
              <a:defRPr sz="1500"/>
            </a:lvl1pPr>
            <a:lvl2pPr marL="344075" indent="0">
              <a:buNone/>
              <a:defRPr sz="1400"/>
            </a:lvl2pPr>
            <a:lvl3pPr marL="688214" indent="0">
              <a:buNone/>
              <a:defRPr sz="1200"/>
            </a:lvl3pPr>
            <a:lvl4pPr marL="1032330" indent="0">
              <a:buNone/>
              <a:defRPr sz="1100"/>
            </a:lvl4pPr>
            <a:lvl5pPr marL="1376440" indent="0">
              <a:buNone/>
              <a:defRPr sz="1100"/>
            </a:lvl5pPr>
            <a:lvl6pPr marL="1720552" indent="0">
              <a:buNone/>
              <a:defRPr sz="1100"/>
            </a:lvl6pPr>
            <a:lvl7pPr marL="2064665" indent="0">
              <a:buNone/>
              <a:defRPr sz="1100"/>
            </a:lvl7pPr>
            <a:lvl8pPr marL="2408774" indent="0">
              <a:buNone/>
              <a:defRPr sz="1100"/>
            </a:lvl8pPr>
            <a:lvl9pPr marL="2752883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0402"/>
            <a:ext cx="8230410" cy="212558"/>
          </a:xfrm>
          <a:prstGeom prst="rect">
            <a:avLst/>
          </a:prstGeom>
        </p:spPr>
        <p:txBody>
          <a:bodyPr lIns="68549" tIns="34277" rIns="68549" bIns="34277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8" y="1151656"/>
            <a:ext cx="403988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75" indent="0">
              <a:buNone/>
              <a:defRPr sz="1500" b="1"/>
            </a:lvl2pPr>
            <a:lvl3pPr marL="688214" indent="0">
              <a:buNone/>
              <a:defRPr sz="1400" b="1"/>
            </a:lvl3pPr>
            <a:lvl4pPr marL="1032330" indent="0">
              <a:buNone/>
              <a:defRPr sz="1200" b="1"/>
            </a:lvl4pPr>
            <a:lvl5pPr marL="1376440" indent="0">
              <a:buNone/>
              <a:defRPr sz="1200" b="1"/>
            </a:lvl5pPr>
            <a:lvl6pPr marL="1720552" indent="0">
              <a:buNone/>
              <a:defRPr sz="1200" b="1"/>
            </a:lvl6pPr>
            <a:lvl7pPr marL="2064665" indent="0">
              <a:buNone/>
              <a:defRPr sz="1200" b="1"/>
            </a:lvl7pPr>
            <a:lvl8pPr marL="2408774" indent="0">
              <a:buNone/>
              <a:defRPr sz="1200" b="1"/>
            </a:lvl8pPr>
            <a:lvl9pPr marL="2752883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8" y="1631489"/>
            <a:ext cx="403988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4" y="1151656"/>
            <a:ext cx="404150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75" indent="0">
              <a:buNone/>
              <a:defRPr sz="1500" b="1"/>
            </a:lvl2pPr>
            <a:lvl3pPr marL="688214" indent="0">
              <a:buNone/>
              <a:defRPr sz="1400" b="1"/>
            </a:lvl3pPr>
            <a:lvl4pPr marL="1032330" indent="0">
              <a:buNone/>
              <a:defRPr sz="1200" b="1"/>
            </a:lvl4pPr>
            <a:lvl5pPr marL="1376440" indent="0">
              <a:buNone/>
              <a:defRPr sz="1200" b="1"/>
            </a:lvl5pPr>
            <a:lvl6pPr marL="1720552" indent="0">
              <a:buNone/>
              <a:defRPr sz="1200" b="1"/>
            </a:lvl6pPr>
            <a:lvl7pPr marL="2064665" indent="0">
              <a:buNone/>
              <a:defRPr sz="1200" b="1"/>
            </a:lvl7pPr>
            <a:lvl8pPr marL="2408774" indent="0">
              <a:buNone/>
              <a:defRPr sz="1200" b="1"/>
            </a:lvl8pPr>
            <a:lvl9pPr marL="2752883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4" y="1631489"/>
            <a:ext cx="404150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201" y="1493000"/>
            <a:ext cx="2117131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7" y="1493000"/>
            <a:ext cx="2117132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0402"/>
            <a:ext cx="8230410" cy="212558"/>
          </a:xfrm>
          <a:prstGeom prst="rect">
            <a:avLst/>
          </a:prstGeom>
        </p:spPr>
        <p:txBody>
          <a:bodyPr lIns="68549" tIns="34277" rIns="68549" bIns="34277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8" y="1151656"/>
            <a:ext cx="403988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75" indent="0">
              <a:buNone/>
              <a:defRPr sz="1500" b="1"/>
            </a:lvl2pPr>
            <a:lvl3pPr marL="688214" indent="0">
              <a:buNone/>
              <a:defRPr sz="1400" b="1"/>
            </a:lvl3pPr>
            <a:lvl4pPr marL="1032330" indent="0">
              <a:buNone/>
              <a:defRPr sz="1200" b="1"/>
            </a:lvl4pPr>
            <a:lvl5pPr marL="1376440" indent="0">
              <a:buNone/>
              <a:defRPr sz="1200" b="1"/>
            </a:lvl5pPr>
            <a:lvl6pPr marL="1720552" indent="0">
              <a:buNone/>
              <a:defRPr sz="1200" b="1"/>
            </a:lvl6pPr>
            <a:lvl7pPr marL="2064665" indent="0">
              <a:buNone/>
              <a:defRPr sz="1200" b="1"/>
            </a:lvl7pPr>
            <a:lvl8pPr marL="2408774" indent="0">
              <a:buNone/>
              <a:defRPr sz="1200" b="1"/>
            </a:lvl8pPr>
            <a:lvl9pPr marL="2752883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8" y="1631489"/>
            <a:ext cx="403988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4" y="1151656"/>
            <a:ext cx="404150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75" indent="0">
              <a:buNone/>
              <a:defRPr sz="1500" b="1"/>
            </a:lvl2pPr>
            <a:lvl3pPr marL="688214" indent="0">
              <a:buNone/>
              <a:defRPr sz="1400" b="1"/>
            </a:lvl3pPr>
            <a:lvl4pPr marL="1032330" indent="0">
              <a:buNone/>
              <a:defRPr sz="1200" b="1"/>
            </a:lvl4pPr>
            <a:lvl5pPr marL="1376440" indent="0">
              <a:buNone/>
              <a:defRPr sz="1200" b="1"/>
            </a:lvl5pPr>
            <a:lvl6pPr marL="1720552" indent="0">
              <a:buNone/>
              <a:defRPr sz="1200" b="1"/>
            </a:lvl6pPr>
            <a:lvl7pPr marL="2064665" indent="0">
              <a:buNone/>
              <a:defRPr sz="1200" b="1"/>
            </a:lvl7pPr>
            <a:lvl8pPr marL="2408774" indent="0">
              <a:buNone/>
              <a:defRPr sz="1200" b="1"/>
            </a:lvl8pPr>
            <a:lvl9pPr marL="2752883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4" y="1631489"/>
            <a:ext cx="404150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2604"/>
            <a:ext cx="3008044" cy="223745"/>
          </a:xfrm>
          <a:prstGeom prst="rect">
            <a:avLst/>
          </a:prstGeom>
        </p:spPr>
        <p:txBody>
          <a:bodyPr lIns="68549" tIns="34277" rIns="68549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06" y="205310"/>
            <a:ext cx="5112217" cy="4389104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076325"/>
            <a:ext cx="3008044" cy="3518086"/>
          </a:xfrm>
        </p:spPr>
        <p:txBody>
          <a:bodyPr/>
          <a:lstStyle>
            <a:lvl1pPr marL="0" indent="0">
              <a:buNone/>
              <a:defRPr sz="1100"/>
            </a:lvl1pPr>
            <a:lvl2pPr marL="344075" indent="0">
              <a:buNone/>
              <a:defRPr sz="900"/>
            </a:lvl2pPr>
            <a:lvl3pPr marL="688214" indent="0">
              <a:buNone/>
              <a:defRPr sz="800"/>
            </a:lvl3pPr>
            <a:lvl4pPr marL="1032330" indent="0">
              <a:buNone/>
              <a:defRPr sz="700"/>
            </a:lvl4pPr>
            <a:lvl5pPr marL="1376440" indent="0">
              <a:buNone/>
              <a:defRPr sz="700"/>
            </a:lvl5pPr>
            <a:lvl6pPr marL="1720552" indent="0">
              <a:buNone/>
              <a:defRPr sz="700"/>
            </a:lvl6pPr>
            <a:lvl7pPr marL="2064665" indent="0">
              <a:buNone/>
              <a:defRPr sz="700"/>
            </a:lvl7pPr>
            <a:lvl8pPr marL="2408774" indent="0">
              <a:buNone/>
              <a:defRPr sz="700"/>
            </a:lvl8pPr>
            <a:lvl9pPr marL="275288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3802171"/>
            <a:ext cx="5486400" cy="223745"/>
          </a:xfrm>
          <a:prstGeom prst="rect">
            <a:avLst/>
          </a:prstGeom>
        </p:spPr>
        <p:txBody>
          <a:bodyPr lIns="68549" tIns="34277" rIns="68549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459200"/>
            <a:ext cx="5486400" cy="3086829"/>
          </a:xfrm>
        </p:spPr>
        <p:txBody>
          <a:bodyPr/>
          <a:lstStyle>
            <a:lvl1pPr marL="0" indent="0">
              <a:buNone/>
              <a:defRPr sz="2500"/>
            </a:lvl1pPr>
            <a:lvl2pPr marL="344075" indent="0">
              <a:buNone/>
              <a:defRPr sz="2200"/>
            </a:lvl2pPr>
            <a:lvl3pPr marL="688214" indent="0">
              <a:buNone/>
              <a:defRPr sz="1800"/>
            </a:lvl3pPr>
            <a:lvl4pPr marL="1032330" indent="0">
              <a:buNone/>
              <a:defRPr sz="1500"/>
            </a:lvl4pPr>
            <a:lvl5pPr marL="1376440" indent="0">
              <a:buNone/>
              <a:defRPr sz="1500"/>
            </a:lvl5pPr>
            <a:lvl6pPr marL="1720552" indent="0">
              <a:buNone/>
              <a:defRPr sz="1500"/>
            </a:lvl6pPr>
            <a:lvl7pPr marL="2064665" indent="0">
              <a:buNone/>
              <a:defRPr sz="1500"/>
            </a:lvl7pPr>
            <a:lvl8pPr marL="2408774" indent="0">
              <a:buNone/>
              <a:defRPr sz="1500"/>
            </a:lvl8pPr>
            <a:lvl9pPr marL="2752883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4025882"/>
            <a:ext cx="5486400" cy="603761"/>
          </a:xfrm>
        </p:spPr>
        <p:txBody>
          <a:bodyPr/>
          <a:lstStyle>
            <a:lvl1pPr marL="0" indent="0">
              <a:buNone/>
              <a:defRPr sz="1100"/>
            </a:lvl1pPr>
            <a:lvl2pPr marL="344075" indent="0">
              <a:buNone/>
              <a:defRPr sz="900"/>
            </a:lvl2pPr>
            <a:lvl3pPr marL="688214" indent="0">
              <a:buNone/>
              <a:defRPr sz="800"/>
            </a:lvl3pPr>
            <a:lvl4pPr marL="1032330" indent="0">
              <a:buNone/>
              <a:defRPr sz="700"/>
            </a:lvl4pPr>
            <a:lvl5pPr marL="1376440" indent="0">
              <a:buNone/>
              <a:defRPr sz="700"/>
            </a:lvl5pPr>
            <a:lvl6pPr marL="1720552" indent="0">
              <a:buNone/>
              <a:defRPr sz="700"/>
            </a:lvl6pPr>
            <a:lvl7pPr marL="2064665" indent="0">
              <a:buNone/>
              <a:defRPr sz="700"/>
            </a:lvl7pPr>
            <a:lvl8pPr marL="2408774" indent="0">
              <a:buNone/>
              <a:defRPr sz="700"/>
            </a:lvl8pPr>
            <a:lvl9pPr marL="275288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284266"/>
            <a:ext cx="277768" cy="2144138"/>
          </a:xfrm>
          <a:prstGeom prst="rect">
            <a:avLst/>
          </a:prstGeom>
        </p:spPr>
        <p:txBody>
          <a:bodyPr vert="eaVert"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99" y="284266"/>
            <a:ext cx="4989109" cy="21441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31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5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383794"/>
            <a:ext cx="6916719" cy="20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49" tIns="34277" rIns="68549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29113-190E-4C09-BE49-613DE8B4CDE2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F24C079-9F80-4676-9251-87B7148D89A1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256F83-DBC1-4397-8451-8A7FD2C17BBF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DCF510-2779-4100-A795-B5F4ED39BB2D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2136F51-D19E-4535-8CE4-41AEBEAEF19F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7200"/>
                    </a14:imgEffect>
                    <a14:imgEffect>
                      <a14:saturation sat="65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80524"/>
            <a:ext cx="9144000" cy="5144027"/>
          </a:xfrm>
          <a:prstGeom prst="rect">
            <a:avLst/>
          </a:prstGeom>
          <a:effectLst>
            <a:softEdge rad="0"/>
          </a:effectLst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75000"/>
                    </a14:imgEffect>
                  </a14:imgLayer>
                </a14:imgProps>
              </a:ext>
            </a:extLst>
          </a:blip>
          <a:srcRect l="16685" t="244" r="69358" b="-244"/>
          <a:stretch/>
        </p:blipFill>
        <p:spPr>
          <a:xfrm>
            <a:off x="0" y="-529"/>
            <a:ext cx="504944" cy="5225079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6E1E49-ACF1-49AA-9C1B-EC5BB171B6C3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504944" y="80524"/>
            <a:ext cx="1131071" cy="848303"/>
            <a:chOff x="-142531" y="43960"/>
            <a:chExt cx="1531129" cy="1148347"/>
          </a:xfrm>
        </p:grpSpPr>
        <p:sp>
          <p:nvSpPr>
            <p:cNvPr id="10" name="Овал 9"/>
            <p:cNvSpPr/>
            <p:nvPr/>
          </p:nvSpPr>
          <p:spPr>
            <a:xfrm>
              <a:off x="158261" y="158877"/>
              <a:ext cx="914399" cy="914399"/>
            </a:xfrm>
            <a:prstGeom prst="ellipse">
              <a:avLst/>
            </a:prstGeom>
            <a:solidFill>
              <a:srgbClr val="FFF8E5"/>
            </a:solidFill>
            <a:ln>
              <a:noFill/>
            </a:ln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42531" y="43960"/>
              <a:ext cx="1531129" cy="1148347"/>
            </a:xfrm>
            <a:prstGeom prst="rect">
              <a:avLst/>
            </a:prstGeom>
          </p:spPr>
        </p:pic>
      </p:grpSp>
      <p:pic>
        <p:nvPicPr>
          <p:cNvPr id="13" name="Picture 2" descr="C:\Users\user\Desktop\1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55" t="20168" r="51554" b="64920"/>
          <a:stretch/>
        </p:blipFill>
        <p:spPr bwMode="auto">
          <a:xfrm>
            <a:off x="7810499" y="99060"/>
            <a:ext cx="1174040" cy="41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 trans="81000" detail="8"/>
                    </a14:imgEffect>
                    <a14:imgEffect>
                      <a14:colorTemperature colorTemp="11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473575" y="165415"/>
            <a:ext cx="974813" cy="675482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D80B04-FE98-48D4-84E2-6DC52AA33BEB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B0F5E5-7C97-4B3E-A1BA-D3E2489CC27F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EFC214-7A46-4431-96E1-FC9776093D82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E227B06-6E40-42A8-AC3C-8693D8753A86}" type="slidenum">
              <a:rPr lang="ru-RU" smtClean="0"/>
              <a:pPr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9144000" cy="5155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228352" y="2046952"/>
            <a:ext cx="5036084" cy="361830"/>
          </a:xfrm>
          <a:prstGeom prst="rect">
            <a:avLst/>
          </a:prstGeom>
        </p:spPr>
        <p:txBody>
          <a:bodyPr lIns="68552" tIns="34277" rIns="68552" bIns="34277" anchor="t"/>
          <a:lstStyle>
            <a:lvl1pPr>
              <a:defRPr sz="2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заголовка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19992" y="3917900"/>
            <a:ext cx="1788304" cy="173124"/>
          </a:xfrm>
        </p:spPr>
        <p:txBody>
          <a:bodyPr>
            <a:spAutoFit/>
          </a:bodyPr>
          <a:lstStyle>
            <a:lvl1pPr>
              <a:defRPr sz="1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2" tIns="34277" rIns="68552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24" y="3305638"/>
            <a:ext cx="7771995" cy="449546"/>
          </a:xfrm>
          <a:prstGeom prst="rect">
            <a:avLst/>
          </a:prstGeom>
        </p:spPr>
        <p:txBody>
          <a:bodyPr lIns="68552" tIns="34277" rIns="68552" bIns="34277" anchor="t"/>
          <a:lstStyle>
            <a:lvl1pPr algn="l">
              <a:defRPr sz="3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24" y="2180582"/>
            <a:ext cx="7771995" cy="1124913"/>
          </a:xfrm>
        </p:spPr>
        <p:txBody>
          <a:bodyPr anchor="b"/>
          <a:lstStyle>
            <a:lvl1pPr marL="0" indent="0">
              <a:buNone/>
              <a:defRPr sz="1500"/>
            </a:lvl1pPr>
            <a:lvl2pPr marL="344093" indent="0">
              <a:buNone/>
              <a:defRPr sz="1400"/>
            </a:lvl2pPr>
            <a:lvl3pPr marL="688248" indent="0">
              <a:buNone/>
              <a:defRPr sz="1200"/>
            </a:lvl3pPr>
            <a:lvl4pPr marL="1032381" indent="0">
              <a:buNone/>
              <a:defRPr sz="1100"/>
            </a:lvl4pPr>
            <a:lvl5pPr marL="1376509" indent="0">
              <a:buNone/>
              <a:defRPr sz="1100"/>
            </a:lvl5pPr>
            <a:lvl6pPr marL="1720638" indent="0">
              <a:buNone/>
              <a:defRPr sz="1100"/>
            </a:lvl6pPr>
            <a:lvl7pPr marL="2064767" indent="0">
              <a:buNone/>
              <a:defRPr sz="1100"/>
            </a:lvl7pPr>
            <a:lvl8pPr marL="2408894" indent="0">
              <a:buNone/>
              <a:defRPr sz="1100"/>
            </a:lvl8pPr>
            <a:lvl9pPr marL="2753021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2" tIns="34277" rIns="68552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2199" y="1493000"/>
            <a:ext cx="2117131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754807" y="1493000"/>
            <a:ext cx="2117132" cy="935403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0402"/>
            <a:ext cx="8230410" cy="212558"/>
          </a:xfrm>
          <a:prstGeom prst="rect">
            <a:avLst/>
          </a:prstGeom>
        </p:spPr>
        <p:txBody>
          <a:bodyPr lIns="68552" tIns="34277" rIns="68552" bIns="34277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8" y="1151656"/>
            <a:ext cx="403988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93" indent="0">
              <a:buNone/>
              <a:defRPr sz="1500" b="1"/>
            </a:lvl2pPr>
            <a:lvl3pPr marL="688248" indent="0">
              <a:buNone/>
              <a:defRPr sz="1400" b="1"/>
            </a:lvl3pPr>
            <a:lvl4pPr marL="1032381" indent="0">
              <a:buNone/>
              <a:defRPr sz="1200" b="1"/>
            </a:lvl4pPr>
            <a:lvl5pPr marL="1376509" indent="0">
              <a:buNone/>
              <a:defRPr sz="1200" b="1"/>
            </a:lvl5pPr>
            <a:lvl6pPr marL="1720638" indent="0">
              <a:buNone/>
              <a:defRPr sz="1200" b="1"/>
            </a:lvl6pPr>
            <a:lvl7pPr marL="2064767" indent="0">
              <a:buNone/>
              <a:defRPr sz="1200" b="1"/>
            </a:lvl7pPr>
            <a:lvl8pPr marL="2408894" indent="0">
              <a:buNone/>
              <a:defRPr sz="1200" b="1"/>
            </a:lvl8pPr>
            <a:lvl9pPr marL="2753021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818" y="1631489"/>
            <a:ext cx="403988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4" y="1151656"/>
            <a:ext cx="4041502" cy="479850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4093" indent="0">
              <a:buNone/>
              <a:defRPr sz="1500" b="1"/>
            </a:lvl2pPr>
            <a:lvl3pPr marL="688248" indent="0">
              <a:buNone/>
              <a:defRPr sz="1400" b="1"/>
            </a:lvl3pPr>
            <a:lvl4pPr marL="1032381" indent="0">
              <a:buNone/>
              <a:defRPr sz="1200" b="1"/>
            </a:lvl4pPr>
            <a:lvl5pPr marL="1376509" indent="0">
              <a:buNone/>
              <a:defRPr sz="1200" b="1"/>
            </a:lvl5pPr>
            <a:lvl6pPr marL="1720638" indent="0">
              <a:buNone/>
              <a:defRPr sz="1200" b="1"/>
            </a:lvl6pPr>
            <a:lvl7pPr marL="2064767" indent="0">
              <a:buNone/>
              <a:defRPr sz="1200" b="1"/>
            </a:lvl7pPr>
            <a:lvl8pPr marL="2408894" indent="0">
              <a:buNone/>
              <a:defRPr sz="1200" b="1"/>
            </a:lvl8pPr>
            <a:lvl9pPr marL="2753021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704" y="1631489"/>
            <a:ext cx="4041502" cy="296291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2" tIns="34277" rIns="68552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2602"/>
            <a:ext cx="3008044" cy="223745"/>
          </a:xfrm>
          <a:prstGeom prst="rect">
            <a:avLst/>
          </a:prstGeom>
        </p:spPr>
        <p:txBody>
          <a:bodyPr lIns="68552" tIns="34277" rIns="68552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06" y="205310"/>
            <a:ext cx="5112217" cy="4389104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076325"/>
            <a:ext cx="3008044" cy="3518086"/>
          </a:xfrm>
        </p:spPr>
        <p:txBody>
          <a:bodyPr/>
          <a:lstStyle>
            <a:lvl1pPr marL="0" indent="0">
              <a:buNone/>
              <a:defRPr sz="1100"/>
            </a:lvl1pPr>
            <a:lvl2pPr marL="344093" indent="0">
              <a:buNone/>
              <a:defRPr sz="900"/>
            </a:lvl2pPr>
            <a:lvl3pPr marL="688248" indent="0">
              <a:buNone/>
              <a:defRPr sz="800"/>
            </a:lvl3pPr>
            <a:lvl4pPr marL="1032381" indent="0">
              <a:buNone/>
              <a:defRPr sz="700"/>
            </a:lvl4pPr>
            <a:lvl5pPr marL="1376509" indent="0">
              <a:buNone/>
              <a:defRPr sz="700"/>
            </a:lvl5pPr>
            <a:lvl6pPr marL="1720638" indent="0">
              <a:buNone/>
              <a:defRPr sz="700"/>
            </a:lvl6pPr>
            <a:lvl7pPr marL="2064767" indent="0">
              <a:buNone/>
              <a:defRPr sz="700"/>
            </a:lvl7pPr>
            <a:lvl8pPr marL="2408894" indent="0">
              <a:buNone/>
              <a:defRPr sz="700"/>
            </a:lvl8pPr>
            <a:lvl9pPr marL="2753021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3802169"/>
            <a:ext cx="5486400" cy="223745"/>
          </a:xfrm>
          <a:prstGeom prst="rect">
            <a:avLst/>
          </a:prstGeom>
        </p:spPr>
        <p:txBody>
          <a:bodyPr lIns="68552" tIns="34277" rIns="68552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459200"/>
            <a:ext cx="5486400" cy="3086829"/>
          </a:xfrm>
        </p:spPr>
        <p:txBody>
          <a:bodyPr/>
          <a:lstStyle>
            <a:lvl1pPr marL="0" indent="0">
              <a:buNone/>
              <a:defRPr sz="2500"/>
            </a:lvl1pPr>
            <a:lvl2pPr marL="344093" indent="0">
              <a:buNone/>
              <a:defRPr sz="2200"/>
            </a:lvl2pPr>
            <a:lvl3pPr marL="688248" indent="0">
              <a:buNone/>
              <a:defRPr sz="1800"/>
            </a:lvl3pPr>
            <a:lvl4pPr marL="1032381" indent="0">
              <a:buNone/>
              <a:defRPr sz="1500"/>
            </a:lvl4pPr>
            <a:lvl5pPr marL="1376509" indent="0">
              <a:buNone/>
              <a:defRPr sz="1500"/>
            </a:lvl5pPr>
            <a:lvl6pPr marL="1720638" indent="0">
              <a:buNone/>
              <a:defRPr sz="1500"/>
            </a:lvl6pPr>
            <a:lvl7pPr marL="2064767" indent="0">
              <a:buNone/>
              <a:defRPr sz="1500"/>
            </a:lvl7pPr>
            <a:lvl8pPr marL="2408894" indent="0">
              <a:buNone/>
              <a:defRPr sz="1500"/>
            </a:lvl8pPr>
            <a:lvl9pPr marL="2753021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4025880"/>
            <a:ext cx="5486400" cy="603761"/>
          </a:xfrm>
        </p:spPr>
        <p:txBody>
          <a:bodyPr/>
          <a:lstStyle>
            <a:lvl1pPr marL="0" indent="0">
              <a:buNone/>
              <a:defRPr sz="1100"/>
            </a:lvl1pPr>
            <a:lvl2pPr marL="344093" indent="0">
              <a:buNone/>
              <a:defRPr sz="900"/>
            </a:lvl2pPr>
            <a:lvl3pPr marL="688248" indent="0">
              <a:buNone/>
              <a:defRPr sz="800"/>
            </a:lvl3pPr>
            <a:lvl4pPr marL="1032381" indent="0">
              <a:buNone/>
              <a:defRPr sz="700"/>
            </a:lvl4pPr>
            <a:lvl5pPr marL="1376509" indent="0">
              <a:buNone/>
              <a:defRPr sz="700"/>
            </a:lvl5pPr>
            <a:lvl6pPr marL="1720638" indent="0">
              <a:buNone/>
              <a:defRPr sz="700"/>
            </a:lvl6pPr>
            <a:lvl7pPr marL="2064767" indent="0">
              <a:buNone/>
              <a:defRPr sz="700"/>
            </a:lvl7pPr>
            <a:lvl8pPr marL="2408894" indent="0">
              <a:buNone/>
              <a:defRPr sz="700"/>
            </a:lvl8pPr>
            <a:lvl9pPr marL="2753021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57" y="281870"/>
            <a:ext cx="6858405" cy="212558"/>
          </a:xfrm>
          <a:prstGeom prst="rect">
            <a:avLst/>
          </a:prstGeom>
        </p:spPr>
        <p:txBody>
          <a:bodyPr lIns="68552" tIns="34277" rIns="68552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852604"/>
            <a:ext cx="3008044" cy="223745"/>
          </a:xfrm>
          <a:prstGeom prst="rect">
            <a:avLst/>
          </a:prstGeom>
        </p:spPr>
        <p:txBody>
          <a:bodyPr lIns="68549" tIns="34277" rIns="68549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06" y="205310"/>
            <a:ext cx="5112217" cy="4389104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076325"/>
            <a:ext cx="3008044" cy="3518086"/>
          </a:xfrm>
        </p:spPr>
        <p:txBody>
          <a:bodyPr/>
          <a:lstStyle>
            <a:lvl1pPr marL="0" indent="0">
              <a:buNone/>
              <a:defRPr sz="1100"/>
            </a:lvl1pPr>
            <a:lvl2pPr marL="344075" indent="0">
              <a:buNone/>
              <a:defRPr sz="900"/>
            </a:lvl2pPr>
            <a:lvl3pPr marL="688214" indent="0">
              <a:buNone/>
              <a:defRPr sz="800"/>
            </a:lvl3pPr>
            <a:lvl4pPr marL="1032330" indent="0">
              <a:buNone/>
              <a:defRPr sz="700"/>
            </a:lvl4pPr>
            <a:lvl5pPr marL="1376440" indent="0">
              <a:buNone/>
              <a:defRPr sz="700"/>
            </a:lvl5pPr>
            <a:lvl6pPr marL="1720552" indent="0">
              <a:buNone/>
              <a:defRPr sz="700"/>
            </a:lvl6pPr>
            <a:lvl7pPr marL="2064665" indent="0">
              <a:buNone/>
              <a:defRPr sz="700"/>
            </a:lvl7pPr>
            <a:lvl8pPr marL="2408774" indent="0">
              <a:buNone/>
              <a:defRPr sz="700"/>
            </a:lvl8pPr>
            <a:lvl9pPr marL="275288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5266104" y="284266"/>
            <a:ext cx="277768" cy="2144138"/>
          </a:xfrm>
          <a:prstGeom prst="rect">
            <a:avLst/>
          </a:prstGeom>
        </p:spPr>
        <p:txBody>
          <a:bodyPr vert="eaVert" lIns="68552" tIns="34277" rIns="68552" bIns="34277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1498" y="284266"/>
            <a:ext cx="4989109" cy="21441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8913"/>
            <a:ext cx="6331957" cy="942084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0929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2113"/>
            <a:ext cx="8445848" cy="117761"/>
          </a:xfrm>
        </p:spPr>
        <p:txBody>
          <a:bodyPr/>
          <a:lstStyle>
            <a:lvl1pPr>
              <a:defRPr sz="8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90" y="383794"/>
            <a:ext cx="6916719" cy="208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3802171"/>
            <a:ext cx="5486400" cy="223745"/>
          </a:xfrm>
          <a:prstGeom prst="rect">
            <a:avLst/>
          </a:prstGeom>
        </p:spPr>
        <p:txBody>
          <a:bodyPr lIns="68549" tIns="34277" rIns="68549" bIns="34277"/>
          <a:lstStyle>
            <a:lvl1pPr algn="l">
              <a:defRPr sz="1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459200"/>
            <a:ext cx="5486400" cy="3086829"/>
          </a:xfrm>
        </p:spPr>
        <p:txBody>
          <a:bodyPr/>
          <a:lstStyle>
            <a:lvl1pPr marL="0" indent="0">
              <a:buNone/>
              <a:defRPr sz="2500"/>
            </a:lvl1pPr>
            <a:lvl2pPr marL="344075" indent="0">
              <a:buNone/>
              <a:defRPr sz="2200"/>
            </a:lvl2pPr>
            <a:lvl3pPr marL="688214" indent="0">
              <a:buNone/>
              <a:defRPr sz="1800"/>
            </a:lvl3pPr>
            <a:lvl4pPr marL="1032330" indent="0">
              <a:buNone/>
              <a:defRPr sz="1500"/>
            </a:lvl4pPr>
            <a:lvl5pPr marL="1376440" indent="0">
              <a:buNone/>
              <a:defRPr sz="1500"/>
            </a:lvl5pPr>
            <a:lvl6pPr marL="1720552" indent="0">
              <a:buNone/>
              <a:defRPr sz="1500"/>
            </a:lvl6pPr>
            <a:lvl7pPr marL="2064665" indent="0">
              <a:buNone/>
              <a:defRPr sz="1500"/>
            </a:lvl7pPr>
            <a:lvl8pPr marL="2408774" indent="0">
              <a:buNone/>
              <a:defRPr sz="1500"/>
            </a:lvl8pPr>
            <a:lvl9pPr marL="2752883" indent="0">
              <a:buNone/>
              <a:defRPr sz="15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4025882"/>
            <a:ext cx="5486400" cy="603761"/>
          </a:xfrm>
        </p:spPr>
        <p:txBody>
          <a:bodyPr/>
          <a:lstStyle>
            <a:lvl1pPr marL="0" indent="0">
              <a:buNone/>
              <a:defRPr sz="1100"/>
            </a:lvl1pPr>
            <a:lvl2pPr marL="344075" indent="0">
              <a:buNone/>
              <a:defRPr sz="900"/>
            </a:lvl2pPr>
            <a:lvl3pPr marL="688214" indent="0">
              <a:buNone/>
              <a:defRPr sz="800"/>
            </a:lvl3pPr>
            <a:lvl4pPr marL="1032330" indent="0">
              <a:buNone/>
              <a:defRPr sz="700"/>
            </a:lvl4pPr>
            <a:lvl5pPr marL="1376440" indent="0">
              <a:buNone/>
              <a:defRPr sz="700"/>
            </a:lvl5pPr>
            <a:lvl6pPr marL="1720552" indent="0">
              <a:buNone/>
              <a:defRPr sz="700"/>
            </a:lvl6pPr>
            <a:lvl7pPr marL="2064665" indent="0">
              <a:buNone/>
              <a:defRPr sz="700"/>
            </a:lvl7pPr>
            <a:lvl8pPr marL="2408774" indent="0">
              <a:buNone/>
              <a:defRPr sz="700"/>
            </a:lvl8pPr>
            <a:lvl9pPr marL="2752883" indent="0">
              <a:buNone/>
              <a:defRPr sz="7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668" y="2433"/>
            <a:ext cx="508553" cy="1269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94043"/>
            <a:ext cx="3730492" cy="17312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21489" y="4686726"/>
            <a:ext cx="8722840" cy="342575"/>
            <a:chOff x="75" y="3858"/>
            <a:chExt cx="5385" cy="28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58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5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587861" indent="-587861" defTabSz="673881" fontAlgn="base">
                <a:spcBef>
                  <a:spcPct val="0"/>
                </a:spcBef>
                <a:spcAft>
                  <a:spcPct val="0"/>
                </a:spcAft>
                <a:tabLst>
                  <a:tab pos="586662" algn="l"/>
                </a:tabLst>
                <a:defRPr/>
              </a:pPr>
              <a:r>
                <a:rPr lang="ru-RU" sz="8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482165" y="863748"/>
            <a:ext cx="4350892" cy="387523"/>
            <a:chOff x="915" y="711"/>
            <a:chExt cx="2686" cy="319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65" y="4949131"/>
            <a:ext cx="199241" cy="1166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935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824661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67388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6979909" y="70459"/>
            <a:ext cx="2070156" cy="38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21490" y="526041"/>
            <a:ext cx="8973916" cy="32800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48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21490" y="5048751"/>
            <a:ext cx="8973916" cy="32801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48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3881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673881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2pPr>
      <a:lvl3pPr algn="l" defTabSz="673881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3pPr>
      <a:lvl4pPr algn="l" defTabSz="673881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4pPr>
      <a:lvl5pPr algn="l" defTabSz="673881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5pPr>
      <a:lvl6pPr marL="344075" algn="l" defTabSz="673881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6pPr>
      <a:lvl7pPr marL="688214" algn="l" defTabSz="673881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7pPr>
      <a:lvl8pPr marL="1032330" algn="l" defTabSz="673881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8pPr>
      <a:lvl9pPr marL="1376440" algn="l" defTabSz="673881" rtl="0" fontAlgn="base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9pPr>
    </p:titleStyle>
    <p:bodyStyle>
      <a:lvl1pPr algn="l" defTabSz="67388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772" indent="-144581" algn="l" defTabSz="67388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4075" indent="-197150" algn="l" defTabSz="67388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2398" indent="-117095" algn="l" defTabSz="67388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1569" indent="-97976" algn="l" defTabSz="67388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905684" indent="-97976" algn="l" defTabSz="67388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249792" indent="-97976" algn="l" defTabSz="67388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1593911" indent="-97976" algn="l" defTabSz="67388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1938017" indent="-97976" algn="l" defTabSz="673881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4075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8214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33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644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20552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4665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8774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2883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6" tIns="34289" rIns="68576" bIns="342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76" tIns="34289" rIns="68576" bIns="342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6" tIns="34289" rIns="68576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</p:sldLayoutIdLst>
  <p:transition>
    <p:fade/>
  </p:transition>
  <p:hf sldNum="0"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38" indent="-171438" algn="l" defTabSz="685749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1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186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668" y="2433"/>
            <a:ext cx="508553" cy="1269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94043"/>
            <a:ext cx="3730492" cy="17312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21489" y="4686726"/>
            <a:ext cx="8722840" cy="342575"/>
            <a:chOff x="75" y="3858"/>
            <a:chExt cx="5385" cy="28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58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5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587861" indent="-587861" defTabSz="673881" fontAlgn="base">
                <a:spcBef>
                  <a:spcPct val="0"/>
                </a:spcBef>
                <a:spcAft>
                  <a:spcPct val="0"/>
                </a:spcAft>
                <a:tabLst>
                  <a:tab pos="586662" algn="l"/>
                </a:tabLst>
                <a:defRPr/>
              </a:pPr>
              <a:r>
                <a:rPr lang="ru-RU" sz="8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482165" y="863748"/>
            <a:ext cx="4350892" cy="387523"/>
            <a:chOff x="915" y="711"/>
            <a:chExt cx="2686" cy="319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65" y="4949131"/>
            <a:ext cx="199241" cy="1166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935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824661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67388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6979909" y="70459"/>
            <a:ext cx="2070156" cy="38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21490" y="526041"/>
            <a:ext cx="8973916" cy="32800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48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21490" y="5048751"/>
            <a:ext cx="8973916" cy="32801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485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2pPr>
      <a:lvl3pPr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3pPr>
      <a:lvl4pPr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4pPr>
      <a:lvl5pPr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5pPr>
      <a:lvl6pPr marL="344075"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6pPr>
      <a:lvl7pPr marL="688214"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7pPr>
      <a:lvl8pPr marL="1032330"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8pPr>
      <a:lvl9pPr marL="1376440" algn="l" defTabSz="67388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9pPr>
    </p:titleStyle>
    <p:bodyStyle>
      <a:lvl1pPr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772" indent="-144581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4075" indent="-197150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2398" indent="-117095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1569" indent="-97976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905684" indent="-97976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249792" indent="-97976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1593911" indent="-97976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1938017" indent="-97976" algn="l" defTabSz="67388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4075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8214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33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6440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20552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4665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8774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2883" algn="l" defTabSz="68821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77" tIns="34289" rIns="68577" bIns="34289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77" tIns="34289" rIns="68577" bIns="34289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68577" tIns="34289" rIns="68577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</p:sldLayoutIdLst>
  <p:transition>
    <p:fade/>
  </p:transition>
  <p:hf hdr="0" ftr="0" dt="0"/>
  <p:txStyles>
    <p:titleStyle>
      <a:lvl1pPr algn="l" defTabSz="685766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2" indent="-171442" algn="l" defTabSz="6857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2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0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90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74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668" y="2433"/>
            <a:ext cx="508553" cy="1269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68550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94043"/>
            <a:ext cx="3730492" cy="17312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21489" y="4686725"/>
            <a:ext cx="8722840" cy="342575"/>
            <a:chOff x="75" y="3858"/>
            <a:chExt cx="5385" cy="28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58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5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587876" indent="-587876" defTabSz="673898" fontAlgn="base">
                <a:spcBef>
                  <a:spcPct val="0"/>
                </a:spcBef>
                <a:spcAft>
                  <a:spcPct val="0"/>
                </a:spcAft>
                <a:tabLst>
                  <a:tab pos="586677" algn="l"/>
                </a:tabLst>
                <a:defRPr/>
              </a:pPr>
              <a:r>
                <a:rPr lang="ru-RU" sz="8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482165" y="863747"/>
            <a:ext cx="4350892" cy="387523"/>
            <a:chOff x="915" y="711"/>
            <a:chExt cx="2686" cy="319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68550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8550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64" y="4949131"/>
            <a:ext cx="199241" cy="1166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685502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50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50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935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824661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673898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6979909" y="70459"/>
            <a:ext cx="2070156" cy="38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21490" y="526041"/>
            <a:ext cx="8973916" cy="32800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02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21490" y="5048750"/>
            <a:ext cx="8973916" cy="32801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02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  <p:sldLayoutId id="214748382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2pPr>
      <a:lvl3pPr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3pPr>
      <a:lvl4pPr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4pPr>
      <a:lvl5pPr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5pPr>
      <a:lvl6pPr marL="344084"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6pPr>
      <a:lvl7pPr marL="688231"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7pPr>
      <a:lvl8pPr marL="1032356"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8pPr>
      <a:lvl9pPr marL="1376474" algn="l" defTabSz="673898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9pPr>
    </p:titleStyle>
    <p:bodyStyle>
      <a:lvl1pPr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775" indent="-144584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4084" indent="-197155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2410" indent="-117098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1583" indent="-97979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905706" indent="-97979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249823" indent="-97979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1593950" indent="-97979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1938065" indent="-97979" algn="l" defTabSz="67389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4084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8231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356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6474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20595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4716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8834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2952" algn="l" defTabSz="6882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9.05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485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48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666" y="2431"/>
            <a:ext cx="508553" cy="1269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68553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94043"/>
            <a:ext cx="3730492" cy="17312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21489" y="4686723"/>
            <a:ext cx="8722840" cy="342575"/>
            <a:chOff x="75" y="3858"/>
            <a:chExt cx="5385" cy="28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58"/>
              <a:ext cx="5385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8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35"/>
              <a:ext cx="4323" cy="10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587906" indent="-587906" defTabSz="673931" fontAlgn="base">
                <a:spcBef>
                  <a:spcPct val="0"/>
                </a:spcBef>
                <a:spcAft>
                  <a:spcPct val="0"/>
                </a:spcAft>
                <a:tabLst>
                  <a:tab pos="586707" algn="l"/>
                </a:tabLst>
                <a:defRPr/>
              </a:pPr>
              <a:r>
                <a:rPr lang="ru-RU" sz="8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482165" y="863745"/>
            <a:ext cx="4350892" cy="387523"/>
            <a:chOff x="915" y="711"/>
            <a:chExt cx="2686" cy="319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68553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68553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08862" y="4949131"/>
            <a:ext cx="199241" cy="11662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8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685536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68553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685536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935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8246619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67393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6979909" y="70459"/>
            <a:ext cx="2070156" cy="385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21490" y="526041"/>
            <a:ext cx="8973916" cy="32800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36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21490" y="5048748"/>
            <a:ext cx="8973916" cy="32801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536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2pPr>
      <a:lvl3pPr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3pPr>
      <a:lvl4pPr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4pPr>
      <a:lvl5pPr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5pPr>
      <a:lvl6pPr marL="344102"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6pPr>
      <a:lvl7pPr marL="688265"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7pPr>
      <a:lvl8pPr marL="1032407"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8pPr>
      <a:lvl9pPr marL="1376543" algn="l" defTabSz="673931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1400" b="1">
          <a:solidFill>
            <a:srgbClr val="00703C"/>
          </a:solidFill>
          <a:latin typeface="Arial" pitchFamily="34" charset="0"/>
        </a:defRPr>
      </a:lvl9pPr>
    </p:titleStyle>
    <p:bodyStyle>
      <a:lvl1pPr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5782" indent="-144590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4102" indent="-19716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2434" indent="-117104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61611" indent="-9798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905751" indent="-9798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6pPr>
      <a:lvl7pPr marL="1249885" indent="-9798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7pPr>
      <a:lvl8pPr marL="1594029" indent="-9798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8pPr>
      <a:lvl9pPr marL="1938161" indent="-97985" algn="l" defTabSz="6739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4102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8265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2407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6543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20681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4818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8954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53090" algn="l" defTabSz="68826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dinard.gataullin00@mail.ru" TargetMode="External"/><Relationship Id="rId2" Type="http://schemas.openxmlformats.org/officeDocument/2006/relationships/hyperlink" Target="mailto:Gelyus.Bayazitov@tatar.ru" TargetMode="External"/><Relationship Id="rId1" Type="http://schemas.openxmlformats.org/officeDocument/2006/relationships/slideLayout" Target="../slideLayouts/slideLayout6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731519" y="972893"/>
            <a:ext cx="8242299" cy="975268"/>
          </a:xfrm>
          <a:prstGeom prst="rect">
            <a:avLst/>
          </a:prstGeom>
          <a:noFill/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</a:effectLst>
        </p:spPr>
        <p:txBody>
          <a:bodyPr wrap="square" lIns="51432" tIns="25718" rIns="51432" bIns="25718">
            <a:spAutoFit/>
          </a:bodyPr>
          <a:lstStyle/>
          <a:p>
            <a:pPr algn="ctr"/>
            <a:r>
              <a:rPr lang="ru-RU" sz="2000" b="1" dirty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работы («дорожная карта»)</a:t>
            </a:r>
            <a:endParaRPr lang="ru-RU" sz="2000" dirty="0">
              <a:solidFill>
                <a:srgbClr val="2909E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недрению </a:t>
            </a:r>
            <a:r>
              <a:rPr lang="ru-RU" sz="2000" b="1" dirty="0" smtClean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ессивных информационных </a:t>
            </a:r>
            <a:r>
              <a:rPr lang="ru-RU" sz="2000" b="1" dirty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й </a:t>
            </a:r>
            <a:endParaRPr lang="ru-RU" sz="2000" b="1" dirty="0" smtClean="0">
              <a:solidFill>
                <a:srgbClr val="2909E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b="1" dirty="0" smtClean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b="1" dirty="0">
                <a:solidFill>
                  <a:srgbClr val="2909E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чном животноводстве</a:t>
            </a:r>
            <a:endParaRPr lang="ru-RU" sz="2000" dirty="0">
              <a:solidFill>
                <a:srgbClr val="2909E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292100" y="4776740"/>
            <a:ext cx="7771180" cy="315471"/>
          </a:xfrm>
          <a:prstGeom prst="rect">
            <a:avLst/>
          </a:prstGeom>
        </p:spPr>
        <p:txBody>
          <a:bodyPr wrap="square" lIns="68576" tIns="34289" rIns="68576" bIns="34289">
            <a:spAutoFit/>
          </a:bodyPr>
          <a:lstStyle/>
          <a:p>
            <a:pPr algn="ctr"/>
            <a:endParaRPr lang="ru-RU" sz="1600" b="1" dirty="0">
              <a:ln w="11430"/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557461" y="314193"/>
            <a:ext cx="5240458" cy="52834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>
              <a:lnSpc>
                <a:spcPts val="1688"/>
              </a:lnSpc>
            </a:pPr>
            <a:r>
              <a:rPr lang="ru-RU" b="1" dirty="0" smtClean="0">
                <a:latin typeface="Arial" pitchFamily="34" charset="0"/>
                <a:cs typeface="Arial" pitchFamily="34" charset="0"/>
              </a:rPr>
              <a:t>Министерств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о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 сельского хозяйства и продовольствия Республики Татарстан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81072" y="4784434"/>
            <a:ext cx="824229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зань - 2020</a:t>
            </a:r>
            <a:endParaRPr lang="ru-RU" sz="11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26816" y="2060126"/>
            <a:ext cx="3669439" cy="25365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506" y="2060126"/>
            <a:ext cx="3849163" cy="253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578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90309" y="937260"/>
            <a:ext cx="8528295" cy="5638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000" dirty="0"/>
              <a:t>Итоги работы отрасли животноводства за </a:t>
            </a:r>
            <a:r>
              <a:rPr lang="ru-RU" sz="2000" dirty="0" smtClean="0"/>
              <a:t>4 месяца </a:t>
            </a:r>
            <a:r>
              <a:rPr lang="ru-RU" sz="2000" dirty="0"/>
              <a:t>2020 года</a:t>
            </a:r>
          </a:p>
          <a:p>
            <a:r>
              <a:rPr lang="ru-RU" sz="2000" dirty="0"/>
              <a:t>по </a:t>
            </a:r>
            <a:r>
              <a:rPr lang="ru-RU" sz="2000" dirty="0" err="1"/>
              <a:t>сельхозформированиям</a:t>
            </a:r>
            <a:r>
              <a:rPr lang="ru-RU" sz="2000" dirty="0"/>
              <a:t> (СХО и КФХ)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808675" y="4934476"/>
            <a:ext cx="309929" cy="2028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89" rIns="0" bIns="34289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13" b="-1"/>
          <a:stretch/>
        </p:blipFill>
        <p:spPr bwMode="auto">
          <a:xfrm>
            <a:off x="3262980" y="1914986"/>
            <a:ext cx="1925865" cy="116225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 descr="\\192.168.0.3\Pictures\НОВАЯ БАЗА\ЖИВОТНОВОДСТВО\КРС\Коровы\В помещении\4714d8c5d43c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35" b="17020"/>
          <a:stretch/>
        </p:blipFill>
        <p:spPr bwMode="auto">
          <a:xfrm>
            <a:off x="3270060" y="3527588"/>
            <a:ext cx="1918785" cy="1172205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8" name="Прямоугольник 7"/>
          <p:cNvSpPr/>
          <p:nvPr/>
        </p:nvSpPr>
        <p:spPr>
          <a:xfrm>
            <a:off x="775336" y="1785445"/>
            <a:ext cx="2352388" cy="1393393"/>
          </a:xfrm>
          <a:prstGeom prst="rect">
            <a:avLst/>
          </a:prstGeom>
          <a:solidFill>
            <a:schemeClr val="bg2"/>
          </a:solidFill>
          <a:ln w="63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9" rIns="68573" bIns="34289"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56286" y="3385818"/>
            <a:ext cx="2352388" cy="1483362"/>
          </a:xfrm>
          <a:prstGeom prst="rect">
            <a:avLst/>
          </a:prstGeom>
          <a:solidFill>
            <a:schemeClr val="bg2"/>
          </a:solidFill>
          <a:ln w="63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9" rIns="68573" bIns="34289"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5356331" y="1761497"/>
            <a:ext cx="3607307" cy="1393393"/>
          </a:xfrm>
          <a:prstGeom prst="rect">
            <a:avLst/>
          </a:prstGeom>
          <a:solidFill>
            <a:schemeClr val="bg2"/>
          </a:solidFill>
          <a:ln w="63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9" rIns="68573" bIns="34289"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380711" y="3385819"/>
            <a:ext cx="3580613" cy="1483362"/>
          </a:xfrm>
          <a:prstGeom prst="rect">
            <a:avLst/>
          </a:prstGeom>
          <a:solidFill>
            <a:schemeClr val="bg2"/>
          </a:solidFill>
          <a:ln w="6350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3" tIns="34289" rIns="68573" bIns="34289"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820125" y="1856638"/>
            <a:ext cx="2260418" cy="380870"/>
          </a:xfrm>
          <a:prstGeom prst="rect">
            <a:avLst/>
          </a:prstGeom>
          <a:noFill/>
        </p:spPr>
        <p:txBody>
          <a:bodyPr wrap="none" lIns="68573" tIns="34289" rIns="68573" bIns="34289" rtlCol="0">
            <a:spAutoFit/>
          </a:bodyPr>
          <a:lstStyle/>
          <a:p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доено молок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33505" y="2266316"/>
            <a:ext cx="1969715" cy="915633"/>
          </a:xfrm>
          <a:prstGeom prst="rect">
            <a:avLst/>
          </a:prstGeom>
          <a:noFill/>
        </p:spPr>
        <p:txBody>
          <a:bodyPr wrap="square" lIns="68573" tIns="34289" rIns="68573" bIns="34289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58,8 </a:t>
            </a:r>
            <a:r>
              <a:rPr lang="ru-RU" sz="2000" b="1" dirty="0" err="1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24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400" b="1" dirty="0" smtClean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000" b="1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7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ru-RU" sz="7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1372" y="3492498"/>
            <a:ext cx="2344912" cy="692495"/>
          </a:xfrm>
          <a:prstGeom prst="rect">
            <a:avLst/>
          </a:prstGeom>
          <a:noFill/>
        </p:spPr>
        <p:txBody>
          <a:bodyPr wrap="square" lIns="68573" tIns="34289" rIns="68573" bIns="34289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Средний </a:t>
            </a:r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удой </a:t>
            </a:r>
          </a:p>
          <a:p>
            <a:pPr algn="ctr"/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на 1 коров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69455" y="4076661"/>
            <a:ext cx="2127812" cy="561690"/>
          </a:xfrm>
          <a:prstGeom prst="rect">
            <a:avLst/>
          </a:prstGeom>
          <a:noFill/>
        </p:spPr>
        <p:txBody>
          <a:bodyPr wrap="none" lIns="68573" tIns="34289" rIns="68573" bIns="34289" rtlCol="0">
            <a:spAutoFit/>
          </a:bodyPr>
          <a:lstStyle/>
          <a:p>
            <a:pPr algn="ctr"/>
            <a:endParaRPr lang="ru-RU" sz="800" b="1" dirty="0">
              <a:latin typeface="Arial" pitchFamily="34" charset="0"/>
              <a:cs typeface="Arial" pitchFamily="34" charset="0"/>
            </a:endParaRPr>
          </a:p>
          <a:p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034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кг (</a:t>
            </a:r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9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965932" y="1848519"/>
            <a:ext cx="2350007" cy="692495"/>
          </a:xfrm>
          <a:prstGeom prst="rect">
            <a:avLst/>
          </a:prstGeom>
          <a:noFill/>
        </p:spPr>
        <p:txBody>
          <a:bodyPr wrap="square" lIns="68573" tIns="34289" rIns="68573" bIns="34289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роизведено мяс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86522" y="2545127"/>
            <a:ext cx="2815501" cy="438580"/>
          </a:xfrm>
          <a:prstGeom prst="rect">
            <a:avLst/>
          </a:prstGeom>
          <a:noFill/>
        </p:spPr>
        <p:txBody>
          <a:bodyPr wrap="none" lIns="68573" tIns="34289" rIns="68573" bIns="34289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38,2 </a:t>
            </a:r>
            <a:r>
              <a:rPr lang="ru-RU" sz="2000" b="1" dirty="0" err="1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4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965221" y="3407878"/>
            <a:ext cx="2350007" cy="380870"/>
          </a:xfrm>
          <a:prstGeom prst="rect">
            <a:avLst/>
          </a:prstGeom>
          <a:noFill/>
        </p:spPr>
        <p:txBody>
          <a:bodyPr wrap="square" lIns="68573" tIns="34289" rIns="68573" bIns="34289" rtlCol="0">
            <a:spAutoFit/>
          </a:bodyPr>
          <a:lstStyle/>
          <a:p>
            <a:pPr algn="ctr"/>
            <a:r>
              <a:rPr lang="ru-RU" sz="20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По вида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523972" y="3792524"/>
            <a:ext cx="3444768" cy="992577"/>
          </a:xfrm>
          <a:prstGeom prst="rect">
            <a:avLst/>
          </a:prstGeom>
          <a:noFill/>
        </p:spPr>
        <p:txBody>
          <a:bodyPr wrap="square" lIns="68573" tIns="34289" rIns="68573" bIns="34289" rtlCol="0">
            <a:spAutoFit/>
          </a:bodyPr>
          <a:lstStyle/>
          <a:p>
            <a:pPr>
              <a:tabLst>
                <a:tab pos="898525" algn="l"/>
              </a:tabLs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КРС	</a:t>
            </a:r>
            <a:r>
              <a:rPr lang="ru-RU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- 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3,0</a:t>
            </a:r>
            <a:r>
              <a:rPr lang="ru-RU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1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898525" algn="l"/>
              </a:tabLs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Свиней	 - 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1,9</a:t>
            </a:r>
            <a:r>
              <a:rPr lang="ru-RU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8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  <a:p>
            <a:pPr>
              <a:tabLst>
                <a:tab pos="898525" algn="l"/>
              </a:tabLst>
            </a:pP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Птицы	 - 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72,5</a:t>
            </a:r>
            <a:r>
              <a:rPr lang="ru-RU" sz="18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800" b="1" dirty="0" err="1">
                <a:latin typeface="Arial" pitchFamily="34" charset="0"/>
                <a:cs typeface="Arial" pitchFamily="34" charset="0"/>
              </a:rPr>
              <a:t>тыс.тн</a:t>
            </a:r>
            <a:r>
              <a:rPr lang="ru-RU" sz="1800" b="1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2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04</a:t>
            </a:r>
            <a:r>
              <a:rPr lang="ru-RU" sz="1800" b="1" dirty="0" smtClean="0">
                <a:latin typeface="Arial" pitchFamily="34" charset="0"/>
                <a:cs typeface="Arial" pitchFamily="34" charset="0"/>
              </a:rPr>
              <a:t>%)</a:t>
            </a:r>
            <a:endParaRPr lang="ru-RU" sz="18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67007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36006" y="295866"/>
            <a:ext cx="6079183" cy="624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fontAlgn="ctr"/>
            <a:r>
              <a:rPr lang="ru-RU" sz="1800" dirty="0"/>
              <a:t>Базовые </a:t>
            </a:r>
            <a:r>
              <a:rPr lang="ru-RU" sz="1800" dirty="0" err="1"/>
              <a:t>сельхозформирования</a:t>
            </a:r>
            <a:r>
              <a:rPr lang="ru-RU" sz="1800" dirty="0"/>
              <a:t> </a:t>
            </a:r>
            <a:endParaRPr lang="ru-RU" sz="1800" dirty="0" smtClean="0"/>
          </a:p>
          <a:p>
            <a:pPr fontAlgn="ctr"/>
            <a:r>
              <a:rPr lang="ru-RU" sz="1800" dirty="0" smtClean="0"/>
              <a:t>по </a:t>
            </a:r>
            <a:r>
              <a:rPr lang="ru-RU" sz="1800" dirty="0"/>
              <a:t>внедрению </a:t>
            </a:r>
            <a:r>
              <a:rPr lang="ru-RU" sz="1800" dirty="0" smtClean="0"/>
              <a:t>передовых технологий</a:t>
            </a:r>
            <a:endParaRPr lang="ru-RU" sz="18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866526" y="4940668"/>
            <a:ext cx="309929" cy="2028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89" rIns="0" bIns="34289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407466"/>
              </p:ext>
            </p:extLst>
          </p:nvPr>
        </p:nvGraphicFramePr>
        <p:xfrm>
          <a:off x="4748573" y="920695"/>
          <a:ext cx="4117953" cy="4129928"/>
        </p:xfrm>
        <a:graphic>
          <a:graphicData uri="http://schemas.openxmlformats.org/drawingml/2006/table">
            <a:tbl>
              <a:tblPr/>
              <a:tblGrid>
                <a:gridCol w="266675">
                  <a:extLst>
                    <a:ext uri="{9D8B030D-6E8A-4147-A177-3AD203B41FA5}">
                      <a16:colId xmlns:a16="http://schemas.microsoft.com/office/drawing/2014/main" xmlns="" val="4080131181"/>
                    </a:ext>
                  </a:extLst>
                </a:gridCol>
                <a:gridCol w="1292265">
                  <a:extLst>
                    <a:ext uri="{9D8B030D-6E8A-4147-A177-3AD203B41FA5}">
                      <a16:colId xmlns:a16="http://schemas.microsoft.com/office/drawing/2014/main" xmlns="" val="2525283155"/>
                    </a:ext>
                  </a:extLst>
                </a:gridCol>
                <a:gridCol w="2559013">
                  <a:extLst>
                    <a:ext uri="{9D8B030D-6E8A-4147-A177-3AD203B41FA5}">
                      <a16:colId xmlns:a16="http://schemas.microsoft.com/office/drawing/2014/main" xmlns="" val="1058712431"/>
                    </a:ext>
                  </a:extLst>
                </a:gridCol>
              </a:tblGrid>
              <a:tr h="1765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базового хозяйства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306924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.Усть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Агрофирма «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монка</a:t>
                      </a:r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иал №1 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434594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аиш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Волжское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21169415"/>
                  </a:ext>
                </a:extLst>
              </a:tr>
              <a:tr h="642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ниногор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Август-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слюм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 </a:t>
                      </a:r>
                      <a:endParaRPr lang="ru-RU" sz="1050" b="0" i="0" u="none" strike="noStrike" dirty="0" smtClean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П 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Август-Лениногорск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49700272"/>
                  </a:ext>
                </a:extLst>
              </a:tr>
              <a:tr h="887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дыш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ПК Продовольственная программа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0559863"/>
                  </a:ext>
                </a:extLst>
              </a:tr>
              <a:tr h="423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нделеев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Колхоз Кама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1776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нзел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иковский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38834192"/>
                  </a:ext>
                </a:extLst>
              </a:tr>
              <a:tr h="271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слюмо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Август-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слюм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39742639"/>
                  </a:ext>
                </a:extLst>
              </a:tr>
              <a:tr h="942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ижнекам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АФ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малы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814675"/>
                  </a:ext>
                </a:extLst>
              </a:tr>
              <a:tr h="1041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.Шешм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КФХ "Архангельское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2646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урлат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ФХ Сулейманов А.И.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7828814"/>
                  </a:ext>
                </a:extLst>
              </a:tr>
              <a:tr h="1102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стреч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лак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К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2172279"/>
                  </a:ext>
                </a:extLst>
              </a:tr>
              <a:tr h="493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.Слобод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ФХ Бариев Р.Г.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1708106"/>
                  </a:ext>
                </a:extLst>
              </a:tr>
              <a:tr h="805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би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ба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7303350"/>
                  </a:ext>
                </a:extLst>
              </a:tr>
              <a:tr h="1330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рмано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уркеево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 МТК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лтимерово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8253708"/>
                  </a:ext>
                </a:extLst>
              </a:tr>
              <a:tr h="1433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ас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Авангард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8626153"/>
                  </a:ext>
                </a:extLst>
              </a:tr>
              <a:tr h="1320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тюш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АФ "Колос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08115292"/>
                  </a:ext>
                </a:extLst>
              </a:tr>
              <a:tr h="1349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ка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Парадиз»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4042839"/>
                  </a:ext>
                </a:extLst>
              </a:tr>
              <a:tr h="139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юляч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лак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1897234"/>
                  </a:ext>
                </a:extLst>
              </a:tr>
              <a:tr h="1488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ремша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ИЛЬХАН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39505316"/>
                  </a:ext>
                </a:extLst>
              </a:tr>
              <a:tr h="1275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ополь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опольская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03309810"/>
                  </a:ext>
                </a:extLst>
              </a:tr>
              <a:tr h="2452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таз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им. Тукая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57490161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759112"/>
              </p:ext>
            </p:extLst>
          </p:nvPr>
        </p:nvGraphicFramePr>
        <p:xfrm>
          <a:off x="543589" y="912156"/>
          <a:ext cx="4117953" cy="4129928"/>
        </p:xfrm>
        <a:graphic>
          <a:graphicData uri="http://schemas.openxmlformats.org/drawingml/2006/table">
            <a:tbl>
              <a:tblPr/>
              <a:tblGrid>
                <a:gridCol w="266675">
                  <a:extLst>
                    <a:ext uri="{9D8B030D-6E8A-4147-A177-3AD203B41FA5}">
                      <a16:colId xmlns:a16="http://schemas.microsoft.com/office/drawing/2014/main" xmlns="" val="2705173436"/>
                    </a:ext>
                  </a:extLst>
                </a:gridCol>
                <a:gridCol w="1292265">
                  <a:extLst>
                    <a:ext uri="{9D8B030D-6E8A-4147-A177-3AD203B41FA5}">
                      <a16:colId xmlns:a16="http://schemas.microsoft.com/office/drawing/2014/main" xmlns="" val="2572713835"/>
                    </a:ext>
                  </a:extLst>
                </a:gridCol>
                <a:gridCol w="2559013">
                  <a:extLst>
                    <a:ext uri="{9D8B030D-6E8A-4147-A177-3AD203B41FA5}">
                      <a16:colId xmlns:a16="http://schemas.microsoft.com/office/drawing/2014/main" xmlns="" val="750070908"/>
                    </a:ext>
                  </a:extLst>
                </a:gridCol>
              </a:tblGrid>
              <a:tr h="1765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базового хозяйства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773594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ыз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вруз</a:t>
                      </a:r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420753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нака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Марс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7302703"/>
                  </a:ext>
                </a:extLst>
              </a:tr>
              <a:tr h="642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суба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ксу Агро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32823881"/>
                  </a:ext>
                </a:extLst>
              </a:tr>
              <a:tr h="887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аныш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АФ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аныш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72414642"/>
                  </a:ext>
                </a:extLst>
              </a:tr>
              <a:tr h="423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ексеев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 </a:t>
                      </a:r>
                      <a:endParaRPr lang="ru-RU" sz="1050" b="0" i="0" u="none" strike="noStrike" dirty="0" smtClean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 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Алексеевское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77168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ьке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зангаевское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75098174"/>
                  </a:ext>
                </a:extLst>
              </a:tr>
              <a:tr h="271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ьметье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</a:t>
                      </a:r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. 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.Е.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карликова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38080790"/>
                  </a:ext>
                </a:extLst>
              </a:tr>
              <a:tr h="942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пастов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СХП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ияга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 отд.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машево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84898306"/>
                  </a:ext>
                </a:extLst>
              </a:tr>
              <a:tr h="1041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СХП Северны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699311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вли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ФХ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нуллин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60371553"/>
                  </a:ext>
                </a:extLst>
              </a:tr>
              <a:tr h="1102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таси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ХПК "Кызыл Юл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19451959"/>
                  </a:ext>
                </a:extLst>
              </a:tr>
              <a:tr h="493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гульми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Северная Нива Татарстан»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63550410"/>
                  </a:ext>
                </a:extLst>
              </a:tr>
              <a:tr h="805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и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ХК «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мбулатово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1430263"/>
                  </a:ext>
                </a:extLst>
              </a:tr>
              <a:tr h="1330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.Услон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Красный Восток Агро, </a:t>
                      </a:r>
                      <a:endParaRPr lang="ru-RU" sz="1050" b="0" i="0" u="none" strike="noStrike" dirty="0" smtClean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50" b="0" i="0" u="none" strike="noStrike" dirty="0" err="1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уловский</a:t>
                      </a:r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К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5951525"/>
                  </a:ext>
                </a:extLst>
              </a:tr>
              <a:tr h="14338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огор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рюли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олоко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03225773"/>
                  </a:ext>
                </a:extLst>
              </a:tr>
              <a:tr h="13207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ожжанов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Ак Барс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рожжаное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 </a:t>
                      </a:r>
                      <a:endParaRPr lang="ru-RU" sz="1050" b="0" i="0" u="none" strike="noStrike" dirty="0" smtClean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л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Новое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льмово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5518341"/>
                  </a:ext>
                </a:extLst>
              </a:tr>
              <a:tr h="1349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абуж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"Мир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4829642"/>
                  </a:ext>
                </a:extLst>
              </a:tr>
              <a:tr h="139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ин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ПТК "ТАН", МТК "Куш 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га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6869261"/>
                  </a:ext>
                </a:extLst>
              </a:tr>
              <a:tr h="1488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ленодольс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О "Красный Восток Агро"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02611303"/>
                  </a:ext>
                </a:extLst>
              </a:tr>
              <a:tr h="1275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йбицкий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</a:t>
                      </a:r>
                      <a:r>
                        <a:rPr lang="ru-RU" sz="1050" b="0" i="0" u="none" strike="noStrike" dirty="0" err="1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ган</a:t>
                      </a:r>
                      <a:r>
                        <a:rPr lang="ru-RU" sz="1050" b="0" i="0" u="none" strike="noStrike" dirty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як-Агро»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39017335"/>
                  </a:ext>
                </a:extLst>
              </a:tr>
              <a:tr h="2452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кморски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 smtClean="0">
                          <a:solidFill>
                            <a:srgbClr val="2909E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ОО «Урал»</a:t>
                      </a:r>
                      <a:endParaRPr lang="ru-RU" sz="1050" b="0" i="0" u="none" strike="noStrike" dirty="0">
                        <a:solidFill>
                          <a:srgbClr val="2909E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383" marR="1383" marT="13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6009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551502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36006" y="295866"/>
            <a:ext cx="6079183" cy="624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800" dirty="0" smtClean="0"/>
              <a:t>Список поставщиков</a:t>
            </a:r>
            <a:endParaRPr lang="ru-RU" sz="18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808675" y="4934476"/>
            <a:ext cx="309929" cy="2028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89" rIns="0" bIns="34289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7986" y="844144"/>
            <a:ext cx="5209816" cy="4191748"/>
          </a:xfrm>
          <a:prstGeom prst="rect">
            <a:avLst/>
          </a:prstGeom>
          <a:solidFill>
            <a:srgbClr val="FFFF99"/>
          </a:solidFill>
        </p:spPr>
      </p:pic>
    </p:spTree>
    <p:extLst>
      <p:ext uri="{BB962C8B-B14F-4D97-AF65-F5344CB8AC3E}">
        <p14:creationId xmlns:p14="http://schemas.microsoft.com/office/powerpoint/2010/main" val="1918548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36006" y="295866"/>
            <a:ext cx="6079183" cy="624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800" dirty="0" smtClean="0"/>
              <a:t>Контактные номера телефонов</a:t>
            </a:r>
            <a:endParaRPr lang="ru-RU" sz="18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808675" y="4934476"/>
            <a:ext cx="309929" cy="2028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89" rIns="0" bIns="34289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41576" y="1476177"/>
            <a:ext cx="7862788" cy="23201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800" dirty="0" err="1" smtClean="0"/>
              <a:t>Баязитов</a:t>
            </a:r>
            <a:r>
              <a:rPr lang="ru-RU" sz="1800" dirty="0" smtClean="0"/>
              <a:t> Гелюс Салимович 8 (843) 221 77 58;</a:t>
            </a:r>
            <a:endParaRPr lang="en-US" sz="1800" dirty="0" smtClean="0"/>
          </a:p>
          <a:p>
            <a:r>
              <a:rPr lang="en-US" sz="1800" dirty="0"/>
              <a:t> </a:t>
            </a:r>
            <a:r>
              <a:rPr lang="en-US" sz="1800" dirty="0" smtClean="0"/>
              <a:t>                                                </a:t>
            </a:r>
            <a:r>
              <a:rPr lang="ru-RU" sz="1800" dirty="0" smtClean="0"/>
              <a:t> +7 917 8902608 </a:t>
            </a:r>
            <a:r>
              <a:rPr lang="en-US" sz="1800" dirty="0" smtClean="0">
                <a:hlinkClick r:id="rId2"/>
              </a:rPr>
              <a:t>Gelyus.Bayazitov@tatar.ru</a:t>
            </a:r>
            <a:endParaRPr lang="en-US" sz="1800" dirty="0" smtClean="0"/>
          </a:p>
          <a:p>
            <a:endParaRPr lang="ru-RU" sz="1800" dirty="0" smtClean="0"/>
          </a:p>
          <a:p>
            <a:r>
              <a:rPr lang="ru-RU" sz="1800" dirty="0" smtClean="0"/>
              <a:t>Гатауллин Динард </a:t>
            </a:r>
            <a:r>
              <a:rPr lang="ru-RU" sz="1800" dirty="0" err="1" smtClean="0"/>
              <a:t>Хидиятуллович</a:t>
            </a:r>
            <a:r>
              <a:rPr lang="ru-RU" sz="1800" dirty="0" smtClean="0"/>
              <a:t> 8 (843) 221 76 44; </a:t>
            </a:r>
            <a:endParaRPr lang="en-US" sz="1800" dirty="0" smtClean="0"/>
          </a:p>
          <a:p>
            <a:r>
              <a:rPr lang="en-US" sz="1800" dirty="0"/>
              <a:t> </a:t>
            </a:r>
            <a:r>
              <a:rPr lang="en-US" sz="1800" dirty="0" smtClean="0"/>
              <a:t>                                                            </a:t>
            </a:r>
            <a:r>
              <a:rPr lang="ru-RU" sz="1800" dirty="0" smtClean="0"/>
              <a:t>+7 904 6655114</a:t>
            </a:r>
            <a:r>
              <a:rPr lang="en-US" sz="1800" dirty="0"/>
              <a:t> </a:t>
            </a:r>
            <a:r>
              <a:rPr lang="en-US" sz="1800" dirty="0" smtClean="0">
                <a:hlinkClick r:id="rId3"/>
              </a:rPr>
              <a:t>dinard.gataullin00@mail.ru</a:t>
            </a:r>
            <a:endParaRPr lang="en-US" sz="1800" dirty="0" smtClean="0"/>
          </a:p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426218726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936006" y="295866"/>
            <a:ext cx="6079183" cy="6248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0" rIns="68574" bIns="0" rtlCol="0" anchor="ctr"/>
          <a:lstStyle>
            <a:defPPr>
              <a:defRPr lang="ru-RU"/>
            </a:defPPr>
            <a:lvl1pPr algn="ctr">
              <a:defRPr sz="2200"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800" dirty="0" smtClean="0"/>
              <a:t>Минимальные целевые показатели</a:t>
            </a:r>
            <a:endParaRPr lang="ru-RU" sz="18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8808675" y="4934476"/>
            <a:ext cx="309929" cy="202832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tIns="34289" rIns="0" bIns="34289"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3233" y="1137814"/>
            <a:ext cx="7957337" cy="37235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купка и внедрение программы управления стадом (</a:t>
            </a:r>
            <a:r>
              <a:rPr lang="ru-RU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эйрикомп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льПро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Т4С, </a:t>
            </a:r>
            <a:r>
              <a:rPr lang="ru-RU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фифарм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йриплан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уМонитор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др.)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закупка и внедрение программы управления кормлением (</a:t>
            </a:r>
            <a:r>
              <a:rPr lang="en-US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TM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iry Feeder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MR </a:t>
            </a:r>
            <a:r>
              <a:rPr lang="en-US" i="1" dirty="0" err="1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aker</a:t>
            </a: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и т.д.)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головная идентификация животных (ушные бирки и электронная метка)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гистрация животных в программе управления стадом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протокольной работы через программу управления стадом; 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влечение к разработке протоколов компании-поставщиков кормовых добавок, семени быков-производителей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начальника молочного комплекса разработке протоколов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работка системы сдельной оплаты труда и мер материального стимулирования;</a:t>
            </a:r>
            <a:endParaRPr lang="ru-RU" sz="105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Aft>
                <a:spcPts val="40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ru-RU" i="1" dirty="0"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учение начальника и консультанта УСХ и П контролю работы программных продуктов. </a:t>
            </a:r>
            <a:endParaRPr lang="ru-RU" sz="105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4789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7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8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9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34</TotalTime>
  <Words>526</Words>
  <Application>Microsoft Office PowerPoint</Application>
  <PresentationFormat>Экран (16:9)</PresentationFormat>
  <Paragraphs>181</Paragraphs>
  <Slides>6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16_Firm Format - Russian</vt:lpstr>
      <vt:lpstr>Тема1</vt:lpstr>
      <vt:lpstr>17_Firm Format - Russian</vt:lpstr>
      <vt:lpstr>1_Тема1</vt:lpstr>
      <vt:lpstr>18_Firm Format - Russian</vt:lpstr>
      <vt:lpstr>2_Тема1</vt:lpstr>
      <vt:lpstr>19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User</cp:lastModifiedBy>
  <cp:revision>6533</cp:revision>
  <cp:lastPrinted>2020-04-15T14:46:22Z</cp:lastPrinted>
  <dcterms:created xsi:type="dcterms:W3CDTF">2017-01-20T06:03:46Z</dcterms:created>
  <dcterms:modified xsi:type="dcterms:W3CDTF">2020-05-19T09:29:08Z</dcterms:modified>
</cp:coreProperties>
</file>